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6"/>
  </p:notesMasterIdLst>
  <p:handoutMasterIdLst>
    <p:handoutMasterId r:id="rId27"/>
  </p:handoutMasterIdLst>
  <p:sldIdLst>
    <p:sldId id="256" r:id="rId2"/>
    <p:sldId id="2147472169" r:id="rId3"/>
    <p:sldId id="2147472152" r:id="rId4"/>
    <p:sldId id="2147472180" r:id="rId5"/>
    <p:sldId id="307" r:id="rId6"/>
    <p:sldId id="2147472164" r:id="rId7"/>
    <p:sldId id="2147472160" r:id="rId8"/>
    <p:sldId id="2147472171" r:id="rId9"/>
    <p:sldId id="2147472172" r:id="rId10"/>
    <p:sldId id="2147472188" r:id="rId11"/>
    <p:sldId id="2147472185" r:id="rId12"/>
    <p:sldId id="2147472187" r:id="rId13"/>
    <p:sldId id="2147472189" r:id="rId14"/>
    <p:sldId id="2147472190" r:id="rId15"/>
    <p:sldId id="2147472191" r:id="rId16"/>
    <p:sldId id="2147472192" r:id="rId17"/>
    <p:sldId id="2147472193" r:id="rId18"/>
    <p:sldId id="2147472194" r:id="rId19"/>
    <p:sldId id="2147472195" r:id="rId20"/>
    <p:sldId id="2147472196" r:id="rId21"/>
    <p:sldId id="2147472197" r:id="rId22"/>
    <p:sldId id="2147472186" r:id="rId23"/>
    <p:sldId id="2147472103" r:id="rId24"/>
    <p:sldId id="479" r:id="rId25"/>
  </p:sldIdLst>
  <p:sldSz cx="12192000" cy="6858000"/>
  <p:notesSz cx="7348538" cy="10410825"/>
  <p:custDataLst>
    <p:tags r:id="rId28"/>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預設章節" id="{D35A5A9C-62DC-4857-9311-C457FC6F99EE}">
          <p14:sldIdLst>
            <p14:sldId id="256"/>
            <p14:sldId id="2147472169"/>
            <p14:sldId id="2147472152"/>
            <p14:sldId id="2147472180"/>
            <p14:sldId id="307"/>
            <p14:sldId id="2147472164"/>
            <p14:sldId id="2147472160"/>
            <p14:sldId id="2147472171"/>
            <p14:sldId id="2147472172"/>
            <p14:sldId id="2147472188"/>
            <p14:sldId id="2147472185"/>
            <p14:sldId id="2147472187"/>
            <p14:sldId id="2147472189"/>
            <p14:sldId id="2147472190"/>
            <p14:sldId id="2147472191"/>
            <p14:sldId id="2147472192"/>
            <p14:sldId id="2147472193"/>
            <p14:sldId id="2147472194"/>
            <p14:sldId id="2147472195"/>
            <p14:sldId id="2147472196"/>
            <p14:sldId id="2147472197"/>
            <p14:sldId id="2147472186"/>
            <p14:sldId id="2147472103"/>
            <p14:sldId id="479"/>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279" userDrawn="1">
          <p15:clr>
            <a:srgbClr val="A4A3A4"/>
          </p15:clr>
        </p15:guide>
        <p15:guide id="2" pos="231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7F7F"/>
    <a:srgbClr val="024034"/>
    <a:srgbClr val="86BC25"/>
    <a:srgbClr val="D0D0CE"/>
    <a:srgbClr val="E4E4E4"/>
    <a:srgbClr val="023D32"/>
    <a:srgbClr val="023E32"/>
    <a:srgbClr val="007CB0"/>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DEB11F-16FD-4533-BA7E-942A0CDF210D}" v="803" dt="2024-04-18T09:38:03.2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淺色樣式 2 - 輔色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DF18680-E054-41AD-8BC1-D1AEF772440D}" styleName="中等深淺樣式 2 - 輔色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中等深淺樣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無樣式、無格線">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中等深淺樣式 2 - 輔色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60" autoAdjust="0"/>
    <p:restoredTop sz="93362" autoAdjust="0"/>
  </p:normalViewPr>
  <p:slideViewPr>
    <p:cSldViewPr snapToGrid="0" showGuides="1">
      <p:cViewPr>
        <p:scale>
          <a:sx n="75" d="100"/>
          <a:sy n="75" d="100"/>
        </p:scale>
        <p:origin x="1056" y="-43"/>
      </p:cViewPr>
      <p:guideLst>
        <p:guide/>
        <p:guide orient="horz" pos="2047"/>
        <p:guide orient="horz" pos="1593"/>
        <p:guide orient="horz" pos="2568"/>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3437"/>
    </p:cViewPr>
  </p:sorterViewPr>
  <p:notesViewPr>
    <p:cSldViewPr snapToGrid="0" showGuides="1">
      <p:cViewPr varScale="1">
        <p:scale>
          <a:sx n="72" d="100"/>
          <a:sy n="72" d="100"/>
        </p:scale>
        <p:origin x="3246" y="54"/>
      </p:cViewPr>
      <p:guideLst>
        <p:guide orient="horz" pos="3279"/>
        <p:guide pos="231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ng, Timothy J." userId="be135309-baa1-4715-99f0-6a1745de2ef7" providerId="ADAL" clId="{65DEB11F-16FD-4533-BA7E-942A0CDF210D}"/>
    <pc:docChg chg="undo custSel addSld delSld modSld modSection">
      <pc:chgData name="Wang, Timothy J." userId="be135309-baa1-4715-99f0-6a1745de2ef7" providerId="ADAL" clId="{65DEB11F-16FD-4533-BA7E-942A0CDF210D}" dt="2024-04-18T09:38:30.570" v="4439" actId="20577"/>
      <pc:docMkLst>
        <pc:docMk/>
      </pc:docMkLst>
      <pc:sldChg chg="modSp mod modTransition">
        <pc:chgData name="Wang, Timothy J." userId="be135309-baa1-4715-99f0-6a1745de2ef7" providerId="ADAL" clId="{65DEB11F-16FD-4533-BA7E-942A0CDF210D}" dt="2024-04-18T09:38:03.224" v="4421"/>
        <pc:sldMkLst>
          <pc:docMk/>
          <pc:sldMk cId="0" sldId="256"/>
        </pc:sldMkLst>
        <pc:spChg chg="mod">
          <ac:chgData name="Wang, Timothy J." userId="be135309-baa1-4715-99f0-6a1745de2ef7" providerId="ADAL" clId="{65DEB11F-16FD-4533-BA7E-942A0CDF210D}" dt="2024-04-17T19:07:16.900" v="1" actId="20577"/>
          <ac:spMkLst>
            <pc:docMk/>
            <pc:sldMk cId="0" sldId="256"/>
            <ac:spMk id="6" creationId="{B39E2522-4A46-489D-9BD5-FAB747051F64}"/>
          </ac:spMkLst>
        </pc:spChg>
      </pc:sldChg>
      <pc:sldChg chg="modSp mod">
        <pc:chgData name="Wang, Timothy J." userId="be135309-baa1-4715-99f0-6a1745de2ef7" providerId="ADAL" clId="{65DEB11F-16FD-4533-BA7E-942A0CDF210D}" dt="2024-04-17T20:38:36.291" v="2232"/>
        <pc:sldMkLst>
          <pc:docMk/>
          <pc:sldMk cId="1786087711" sldId="307"/>
        </pc:sldMkLst>
        <pc:spChg chg="mod">
          <ac:chgData name="Wang, Timothy J." userId="be135309-baa1-4715-99f0-6a1745de2ef7" providerId="ADAL" clId="{65DEB11F-16FD-4533-BA7E-942A0CDF210D}" dt="2024-04-17T20:38:36.291" v="2232"/>
          <ac:spMkLst>
            <pc:docMk/>
            <pc:sldMk cId="1786087711" sldId="307"/>
            <ac:spMk id="3" creationId="{00000000-0000-0000-0000-000000000000}"/>
          </ac:spMkLst>
        </pc:spChg>
      </pc:sldChg>
      <pc:sldChg chg="modSp mod">
        <pc:chgData name="Wang, Timothy J." userId="be135309-baa1-4715-99f0-6a1745de2ef7" providerId="ADAL" clId="{65DEB11F-16FD-4533-BA7E-942A0CDF210D}" dt="2024-04-17T19:09:44.747" v="136"/>
        <pc:sldMkLst>
          <pc:docMk/>
          <pc:sldMk cId="3559886403" sldId="2147472152"/>
        </pc:sldMkLst>
        <pc:spChg chg="mod">
          <ac:chgData name="Wang, Timothy J." userId="be135309-baa1-4715-99f0-6a1745de2ef7" providerId="ADAL" clId="{65DEB11F-16FD-4533-BA7E-942A0CDF210D}" dt="2024-04-17T19:09:44.747" v="136"/>
          <ac:spMkLst>
            <pc:docMk/>
            <pc:sldMk cId="3559886403" sldId="2147472152"/>
            <ac:spMk id="5" creationId="{5082B48D-CD84-E2D2-78F1-22D1867BC77B}"/>
          </ac:spMkLst>
        </pc:spChg>
        <pc:spChg chg="mod">
          <ac:chgData name="Wang, Timothy J." userId="be135309-baa1-4715-99f0-6a1745de2ef7" providerId="ADAL" clId="{65DEB11F-16FD-4533-BA7E-942A0CDF210D}" dt="2024-04-17T19:09:38.073" v="119" actId="20577"/>
          <ac:spMkLst>
            <pc:docMk/>
            <pc:sldMk cId="3559886403" sldId="2147472152"/>
            <ac:spMk id="6" creationId="{367FF858-04EC-F5D5-04FA-017070543DD5}"/>
          </ac:spMkLst>
        </pc:spChg>
      </pc:sldChg>
      <pc:sldChg chg="addSp delSp modSp mod modTransition">
        <pc:chgData name="Wang, Timothy J." userId="be135309-baa1-4715-99f0-6a1745de2ef7" providerId="ADAL" clId="{65DEB11F-16FD-4533-BA7E-942A0CDF210D}" dt="2024-04-18T09:38:03.225" v="4423"/>
        <pc:sldMkLst>
          <pc:docMk/>
          <pc:sldMk cId="1606314092" sldId="2147472160"/>
        </pc:sldMkLst>
        <pc:spChg chg="del">
          <ac:chgData name="Wang, Timothy J." userId="be135309-baa1-4715-99f0-6a1745de2ef7" providerId="ADAL" clId="{65DEB11F-16FD-4533-BA7E-942A0CDF210D}" dt="2024-04-17T19:08:16.492" v="52" actId="478"/>
          <ac:spMkLst>
            <pc:docMk/>
            <pc:sldMk cId="1606314092" sldId="2147472160"/>
            <ac:spMk id="5" creationId="{88D5D3A6-1E2F-4F2B-DE29-5FF31487962F}"/>
          </ac:spMkLst>
        </pc:spChg>
        <pc:spChg chg="add mod">
          <ac:chgData name="Wang, Timothy J." userId="be135309-baa1-4715-99f0-6a1745de2ef7" providerId="ADAL" clId="{65DEB11F-16FD-4533-BA7E-942A0CDF210D}" dt="2024-04-17T19:08:24.717" v="107" actId="1038"/>
          <ac:spMkLst>
            <pc:docMk/>
            <pc:sldMk cId="1606314092" sldId="2147472160"/>
            <ac:spMk id="7" creationId="{AA5A66E8-7F3C-FDC7-40F7-B4A0E6890063}"/>
          </ac:spMkLst>
        </pc:spChg>
        <pc:spChg chg="add del mod">
          <ac:chgData name="Wang, Timothy J." userId="be135309-baa1-4715-99f0-6a1745de2ef7" providerId="ADAL" clId="{65DEB11F-16FD-4533-BA7E-942A0CDF210D}" dt="2024-04-17T19:09:19.538" v="112" actId="478"/>
          <ac:spMkLst>
            <pc:docMk/>
            <pc:sldMk cId="1606314092" sldId="2147472160"/>
            <ac:spMk id="8" creationId="{38B79BC5-BD2F-292A-A25A-760C9C66A8EA}"/>
          </ac:spMkLst>
        </pc:spChg>
        <pc:spChg chg="add del mod">
          <ac:chgData name="Wang, Timothy J." userId="be135309-baa1-4715-99f0-6a1745de2ef7" providerId="ADAL" clId="{65DEB11F-16FD-4533-BA7E-942A0CDF210D}" dt="2024-04-17T20:18:49.877" v="1666" actId="478"/>
          <ac:spMkLst>
            <pc:docMk/>
            <pc:sldMk cId="1606314092" sldId="2147472160"/>
            <ac:spMk id="9" creationId="{0F749024-C082-15F9-437A-1132434FD419}"/>
          </ac:spMkLst>
        </pc:spChg>
        <pc:spChg chg="mod">
          <ac:chgData name="Wang, Timothy J." userId="be135309-baa1-4715-99f0-6a1745de2ef7" providerId="ADAL" clId="{65DEB11F-16FD-4533-BA7E-942A0CDF210D}" dt="2024-04-17T19:08:41.326" v="108" actId="552"/>
          <ac:spMkLst>
            <pc:docMk/>
            <pc:sldMk cId="1606314092" sldId="2147472160"/>
            <ac:spMk id="11" creationId="{9E658141-578A-3B51-A7F4-B665B8B26FF8}"/>
          </ac:spMkLst>
        </pc:spChg>
        <pc:spChg chg="mod">
          <ac:chgData name="Wang, Timothy J." userId="be135309-baa1-4715-99f0-6a1745de2ef7" providerId="ADAL" clId="{65DEB11F-16FD-4533-BA7E-942A0CDF210D}" dt="2024-04-17T19:09:16.822" v="111" actId="207"/>
          <ac:spMkLst>
            <pc:docMk/>
            <pc:sldMk cId="1606314092" sldId="2147472160"/>
            <ac:spMk id="12" creationId="{38E177B8-689F-6E9E-F316-48AEC5701AD9}"/>
          </ac:spMkLst>
        </pc:spChg>
        <pc:spChg chg="add del mod">
          <ac:chgData name="Wang, Timothy J." userId="be135309-baa1-4715-99f0-6a1745de2ef7" providerId="ADAL" clId="{65DEB11F-16FD-4533-BA7E-942A0CDF210D}" dt="2024-04-17T20:19:00.281" v="1669" actId="478"/>
          <ac:spMkLst>
            <pc:docMk/>
            <pc:sldMk cId="1606314092" sldId="2147472160"/>
            <ac:spMk id="13" creationId="{AB365B1E-69D8-84F6-AA5E-53276EA07163}"/>
          </ac:spMkLst>
        </pc:spChg>
        <pc:spChg chg="add del mod">
          <ac:chgData name="Wang, Timothy J." userId="be135309-baa1-4715-99f0-6a1745de2ef7" providerId="ADAL" clId="{65DEB11F-16FD-4533-BA7E-942A0CDF210D}" dt="2024-04-17T20:18:52.016" v="1667" actId="478"/>
          <ac:spMkLst>
            <pc:docMk/>
            <pc:sldMk cId="1606314092" sldId="2147472160"/>
            <ac:spMk id="14" creationId="{0A5D9003-48E1-A2E7-42CC-740A19AE0D4F}"/>
          </ac:spMkLst>
        </pc:spChg>
        <pc:spChg chg="add del mod">
          <ac:chgData name="Wang, Timothy J." userId="be135309-baa1-4715-99f0-6a1745de2ef7" providerId="ADAL" clId="{65DEB11F-16FD-4533-BA7E-942A0CDF210D}" dt="2024-04-17T20:18:53.882" v="1668" actId="478"/>
          <ac:spMkLst>
            <pc:docMk/>
            <pc:sldMk cId="1606314092" sldId="2147472160"/>
            <ac:spMk id="15" creationId="{C05CB9DE-CA3E-8D16-E176-CA8F149214EC}"/>
          </ac:spMkLst>
        </pc:spChg>
        <pc:spChg chg="mod">
          <ac:chgData name="Wang, Timothy J." userId="be135309-baa1-4715-99f0-6a1745de2ef7" providerId="ADAL" clId="{65DEB11F-16FD-4533-BA7E-942A0CDF210D}" dt="2024-04-17T19:09:16.822" v="111" actId="207"/>
          <ac:spMkLst>
            <pc:docMk/>
            <pc:sldMk cId="1606314092" sldId="2147472160"/>
            <ac:spMk id="16" creationId="{F08B77B1-4205-E6E1-6DF4-4E815BA33556}"/>
          </ac:spMkLst>
        </pc:spChg>
        <pc:spChg chg="mod">
          <ac:chgData name="Wang, Timothy J." userId="be135309-baa1-4715-99f0-6a1745de2ef7" providerId="ADAL" clId="{65DEB11F-16FD-4533-BA7E-942A0CDF210D}" dt="2024-04-17T19:09:16.822" v="111" actId="207"/>
          <ac:spMkLst>
            <pc:docMk/>
            <pc:sldMk cId="1606314092" sldId="2147472160"/>
            <ac:spMk id="17" creationId="{9F7FC1CB-3C4F-F84F-BAE2-5DC5A7F443AE}"/>
          </ac:spMkLst>
        </pc:spChg>
        <pc:spChg chg="mod">
          <ac:chgData name="Wang, Timothy J." userId="be135309-baa1-4715-99f0-6a1745de2ef7" providerId="ADAL" clId="{65DEB11F-16FD-4533-BA7E-942A0CDF210D}" dt="2024-04-17T19:09:16.822" v="111" actId="207"/>
          <ac:spMkLst>
            <pc:docMk/>
            <pc:sldMk cId="1606314092" sldId="2147472160"/>
            <ac:spMk id="18" creationId="{35C8C0E2-39A7-60AD-BF5D-1CE553BBC3F0}"/>
          </ac:spMkLst>
        </pc:spChg>
        <pc:spChg chg="mod">
          <ac:chgData name="Wang, Timothy J." userId="be135309-baa1-4715-99f0-6a1745de2ef7" providerId="ADAL" clId="{65DEB11F-16FD-4533-BA7E-942A0CDF210D}" dt="2024-04-17T19:09:16.822" v="111" actId="207"/>
          <ac:spMkLst>
            <pc:docMk/>
            <pc:sldMk cId="1606314092" sldId="2147472160"/>
            <ac:spMk id="19" creationId="{231A0756-8C27-9189-4654-E3B8FAF263D1}"/>
          </ac:spMkLst>
        </pc:spChg>
        <pc:spChg chg="mod">
          <ac:chgData name="Wang, Timothy J." userId="be135309-baa1-4715-99f0-6a1745de2ef7" providerId="ADAL" clId="{65DEB11F-16FD-4533-BA7E-942A0CDF210D}" dt="2024-04-17T19:09:16.822" v="111" actId="207"/>
          <ac:spMkLst>
            <pc:docMk/>
            <pc:sldMk cId="1606314092" sldId="2147472160"/>
            <ac:spMk id="20" creationId="{F5C24781-AA7C-C1EE-67C1-0FF8AE2E2C37}"/>
          </ac:spMkLst>
        </pc:spChg>
        <pc:spChg chg="mod">
          <ac:chgData name="Wang, Timothy J." userId="be135309-baa1-4715-99f0-6a1745de2ef7" providerId="ADAL" clId="{65DEB11F-16FD-4533-BA7E-942A0CDF210D}" dt="2024-04-17T19:08:41.326" v="108" actId="552"/>
          <ac:spMkLst>
            <pc:docMk/>
            <pc:sldMk cId="1606314092" sldId="2147472160"/>
            <ac:spMk id="22" creationId="{7BEEBB65-77EE-6266-3D88-3AE908F1488F}"/>
          </ac:spMkLst>
        </pc:spChg>
        <pc:spChg chg="mod">
          <ac:chgData name="Wang, Timothy J." userId="be135309-baa1-4715-99f0-6a1745de2ef7" providerId="ADAL" clId="{65DEB11F-16FD-4533-BA7E-942A0CDF210D}" dt="2024-04-17T19:08:41.326" v="108" actId="552"/>
          <ac:spMkLst>
            <pc:docMk/>
            <pc:sldMk cId="1606314092" sldId="2147472160"/>
            <ac:spMk id="23" creationId="{2F5D563F-880F-5E18-B502-AE9D08FA38AB}"/>
          </ac:spMkLst>
        </pc:spChg>
        <pc:spChg chg="mod">
          <ac:chgData name="Wang, Timothy J." userId="be135309-baa1-4715-99f0-6a1745de2ef7" providerId="ADAL" clId="{65DEB11F-16FD-4533-BA7E-942A0CDF210D}" dt="2024-04-17T19:09:16.822" v="111" actId="207"/>
          <ac:spMkLst>
            <pc:docMk/>
            <pc:sldMk cId="1606314092" sldId="2147472160"/>
            <ac:spMk id="24" creationId="{66083824-DAC3-5471-CF75-F018A72AE061}"/>
          </ac:spMkLst>
        </pc:spChg>
        <pc:cxnChg chg="del">
          <ac:chgData name="Wang, Timothy J." userId="be135309-baa1-4715-99f0-6a1745de2ef7" providerId="ADAL" clId="{65DEB11F-16FD-4533-BA7E-942A0CDF210D}" dt="2024-04-17T19:08:17.408" v="53" actId="478"/>
          <ac:cxnSpMkLst>
            <pc:docMk/>
            <pc:sldMk cId="1606314092" sldId="2147472160"/>
            <ac:cxnSpMk id="4" creationId="{6393DA22-C5FC-A5F2-383C-B6C3EC8561C3}"/>
          </ac:cxnSpMkLst>
        </pc:cxnChg>
        <pc:cxnChg chg="add mod">
          <ac:chgData name="Wang, Timothy J." userId="be135309-baa1-4715-99f0-6a1745de2ef7" providerId="ADAL" clId="{65DEB11F-16FD-4533-BA7E-942A0CDF210D}" dt="2024-04-17T19:08:24.717" v="107" actId="1038"/>
          <ac:cxnSpMkLst>
            <pc:docMk/>
            <pc:sldMk cId="1606314092" sldId="2147472160"/>
            <ac:cxnSpMk id="6" creationId="{B457953E-664E-60FF-765C-1D367EDEA881}"/>
          </ac:cxnSpMkLst>
        </pc:cxnChg>
      </pc:sldChg>
      <pc:sldChg chg="modSp mod modTransition">
        <pc:chgData name="Wang, Timothy J." userId="be135309-baa1-4715-99f0-6a1745de2ef7" providerId="ADAL" clId="{65DEB11F-16FD-4533-BA7E-942A0CDF210D}" dt="2024-04-18T09:38:03.225" v="4422"/>
        <pc:sldMkLst>
          <pc:docMk/>
          <pc:sldMk cId="2458126100" sldId="2147472164"/>
        </pc:sldMkLst>
        <pc:spChg chg="mod">
          <ac:chgData name="Wang, Timothy J." userId="be135309-baa1-4715-99f0-6a1745de2ef7" providerId="ADAL" clId="{65DEB11F-16FD-4533-BA7E-942A0CDF210D}" dt="2024-04-17T19:08:10.629" v="51" actId="1038"/>
          <ac:spMkLst>
            <pc:docMk/>
            <pc:sldMk cId="2458126100" sldId="2147472164"/>
            <ac:spMk id="8" creationId="{4C2EDA60-988D-44A3-3C69-D381A9BCB0B3}"/>
          </ac:spMkLst>
        </pc:spChg>
        <pc:spChg chg="mod">
          <ac:chgData name="Wang, Timothy J." userId="be135309-baa1-4715-99f0-6a1745de2ef7" providerId="ADAL" clId="{65DEB11F-16FD-4533-BA7E-942A0CDF210D}" dt="2024-04-17T19:09:02.538" v="109" actId="207"/>
          <ac:spMkLst>
            <pc:docMk/>
            <pc:sldMk cId="2458126100" sldId="2147472164"/>
            <ac:spMk id="20" creationId="{761AEF83-C8D5-CF19-E587-C5D643048814}"/>
          </ac:spMkLst>
        </pc:spChg>
        <pc:cxnChg chg="mod">
          <ac:chgData name="Wang, Timothy J." userId="be135309-baa1-4715-99f0-6a1745de2ef7" providerId="ADAL" clId="{65DEB11F-16FD-4533-BA7E-942A0CDF210D}" dt="2024-04-17T19:08:10.629" v="51" actId="1038"/>
          <ac:cxnSpMkLst>
            <pc:docMk/>
            <pc:sldMk cId="2458126100" sldId="2147472164"/>
            <ac:cxnSpMk id="5" creationId="{8660BF2E-5720-B345-D540-498F9875B2D7}"/>
          </ac:cxnSpMkLst>
        </pc:cxnChg>
      </pc:sldChg>
      <pc:sldChg chg="modSp mod">
        <pc:chgData name="Wang, Timothy J." userId="be135309-baa1-4715-99f0-6a1745de2ef7" providerId="ADAL" clId="{65DEB11F-16FD-4533-BA7E-942A0CDF210D}" dt="2024-04-18T09:38:30.570" v="4439" actId="20577"/>
        <pc:sldMkLst>
          <pc:docMk/>
          <pc:sldMk cId="352827835" sldId="2147472169"/>
        </pc:sldMkLst>
        <pc:spChg chg="mod">
          <ac:chgData name="Wang, Timothy J." userId="be135309-baa1-4715-99f0-6a1745de2ef7" providerId="ADAL" clId="{65DEB11F-16FD-4533-BA7E-942A0CDF210D}" dt="2024-04-18T09:38:30.570" v="4439" actId="20577"/>
          <ac:spMkLst>
            <pc:docMk/>
            <pc:sldMk cId="352827835" sldId="2147472169"/>
            <ac:spMk id="10" creationId="{9CD6A8F2-62CB-298B-E755-2E4726DA41A8}"/>
          </ac:spMkLst>
        </pc:spChg>
      </pc:sldChg>
      <pc:sldChg chg="modSp mod">
        <pc:chgData name="Wang, Timothy J." userId="be135309-baa1-4715-99f0-6a1745de2ef7" providerId="ADAL" clId="{65DEB11F-16FD-4533-BA7E-942A0CDF210D}" dt="2024-04-17T19:12:10.060" v="172" actId="20577"/>
        <pc:sldMkLst>
          <pc:docMk/>
          <pc:sldMk cId="3494993893" sldId="2147472171"/>
        </pc:sldMkLst>
        <pc:spChg chg="mod">
          <ac:chgData name="Wang, Timothy J." userId="be135309-baa1-4715-99f0-6a1745de2ef7" providerId="ADAL" clId="{65DEB11F-16FD-4533-BA7E-942A0CDF210D}" dt="2024-04-17T19:12:10.060" v="172" actId="20577"/>
          <ac:spMkLst>
            <pc:docMk/>
            <pc:sldMk cId="3494993893" sldId="2147472171"/>
            <ac:spMk id="5" creationId="{5082B48D-CD84-E2D2-78F1-22D1867BC77B}"/>
          </ac:spMkLst>
        </pc:spChg>
      </pc:sldChg>
      <pc:sldChg chg="addSp delSp modSp mod modTransition">
        <pc:chgData name="Wang, Timothy J." userId="be135309-baa1-4715-99f0-6a1745de2ef7" providerId="ADAL" clId="{65DEB11F-16FD-4533-BA7E-942A0CDF210D}" dt="2024-04-18T09:38:03.226" v="4424"/>
        <pc:sldMkLst>
          <pc:docMk/>
          <pc:sldMk cId="2287366223" sldId="2147472172"/>
        </pc:sldMkLst>
        <pc:spChg chg="mod">
          <ac:chgData name="Wang, Timothy J." userId="be135309-baa1-4715-99f0-6a1745de2ef7" providerId="ADAL" clId="{65DEB11F-16FD-4533-BA7E-942A0CDF210D}" dt="2024-04-17T19:12:41.313" v="224"/>
          <ac:spMkLst>
            <pc:docMk/>
            <pc:sldMk cId="2287366223" sldId="2147472172"/>
            <ac:spMk id="2" creationId="{2551F7BA-9075-7F90-8789-DA086290DD2A}"/>
          </ac:spMkLst>
        </pc:spChg>
        <pc:spChg chg="mod">
          <ac:chgData name="Wang, Timothy J." userId="be135309-baa1-4715-99f0-6a1745de2ef7" providerId="ADAL" clId="{65DEB11F-16FD-4533-BA7E-942A0CDF210D}" dt="2024-04-17T19:12:58.388" v="250" actId="1076"/>
          <ac:spMkLst>
            <pc:docMk/>
            <pc:sldMk cId="2287366223" sldId="2147472172"/>
            <ac:spMk id="7" creationId="{1FFD815A-AE01-D3ED-39EF-5131E6BF3B75}"/>
          </ac:spMkLst>
        </pc:spChg>
        <pc:spChg chg="del">
          <ac:chgData name="Wang, Timothy J." userId="be135309-baa1-4715-99f0-6a1745de2ef7" providerId="ADAL" clId="{65DEB11F-16FD-4533-BA7E-942A0CDF210D}" dt="2024-04-17T19:12:51.454" v="249" actId="478"/>
          <ac:spMkLst>
            <pc:docMk/>
            <pc:sldMk cId="2287366223" sldId="2147472172"/>
            <ac:spMk id="8" creationId="{B9A14862-8D26-27FA-EB79-A3DBC64443D4}"/>
          </ac:spMkLst>
        </pc:spChg>
        <pc:spChg chg="del">
          <ac:chgData name="Wang, Timothy J." userId="be135309-baa1-4715-99f0-6a1745de2ef7" providerId="ADAL" clId="{65DEB11F-16FD-4533-BA7E-942A0CDF210D}" dt="2024-04-17T19:12:51.454" v="249" actId="478"/>
          <ac:spMkLst>
            <pc:docMk/>
            <pc:sldMk cId="2287366223" sldId="2147472172"/>
            <ac:spMk id="9" creationId="{6EE2EE9E-D0C5-DE13-89E4-083B8400D58C}"/>
          </ac:spMkLst>
        </pc:spChg>
        <pc:spChg chg="del">
          <ac:chgData name="Wang, Timothy J." userId="be135309-baa1-4715-99f0-6a1745de2ef7" providerId="ADAL" clId="{65DEB11F-16FD-4533-BA7E-942A0CDF210D}" dt="2024-04-17T19:12:51.454" v="249" actId="478"/>
          <ac:spMkLst>
            <pc:docMk/>
            <pc:sldMk cId="2287366223" sldId="2147472172"/>
            <ac:spMk id="10" creationId="{06005CA7-05BC-9DF4-B9B6-5A016B10857E}"/>
          </ac:spMkLst>
        </pc:spChg>
        <pc:spChg chg="del">
          <ac:chgData name="Wang, Timothy J." userId="be135309-baa1-4715-99f0-6a1745de2ef7" providerId="ADAL" clId="{65DEB11F-16FD-4533-BA7E-942A0CDF210D}" dt="2024-04-17T19:12:51.454" v="249" actId="478"/>
          <ac:spMkLst>
            <pc:docMk/>
            <pc:sldMk cId="2287366223" sldId="2147472172"/>
            <ac:spMk id="14" creationId="{80393031-B5BE-3F0D-D5CD-B7C20BC58C27}"/>
          </ac:spMkLst>
        </pc:spChg>
        <pc:spChg chg="del">
          <ac:chgData name="Wang, Timothy J." userId="be135309-baa1-4715-99f0-6a1745de2ef7" providerId="ADAL" clId="{65DEB11F-16FD-4533-BA7E-942A0CDF210D}" dt="2024-04-17T19:12:51.454" v="249" actId="478"/>
          <ac:spMkLst>
            <pc:docMk/>
            <pc:sldMk cId="2287366223" sldId="2147472172"/>
            <ac:spMk id="16" creationId="{0A3D3338-961C-3761-6DC8-45CB4CB56E48}"/>
          </ac:spMkLst>
        </pc:spChg>
        <pc:spChg chg="mod">
          <ac:chgData name="Wang, Timothy J." userId="be135309-baa1-4715-99f0-6a1745de2ef7" providerId="ADAL" clId="{65DEB11F-16FD-4533-BA7E-942A0CDF210D}" dt="2024-04-17T19:17:40.977" v="333" actId="2711"/>
          <ac:spMkLst>
            <pc:docMk/>
            <pc:sldMk cId="2287366223" sldId="2147472172"/>
            <ac:spMk id="17" creationId="{A5FA5334-6683-940D-74FF-F1F1E086ABBD}"/>
          </ac:spMkLst>
        </pc:spChg>
        <pc:spChg chg="mod">
          <ac:chgData name="Wang, Timothy J." userId="be135309-baa1-4715-99f0-6a1745de2ef7" providerId="ADAL" clId="{65DEB11F-16FD-4533-BA7E-942A0CDF210D}" dt="2024-04-17T19:17:40.977" v="333" actId="2711"/>
          <ac:spMkLst>
            <pc:docMk/>
            <pc:sldMk cId="2287366223" sldId="2147472172"/>
            <ac:spMk id="18" creationId="{C756DD31-4B55-AA0E-11FE-8B740C67B2DC}"/>
          </ac:spMkLst>
        </pc:spChg>
        <pc:spChg chg="mod">
          <ac:chgData name="Wang, Timothy J." userId="be135309-baa1-4715-99f0-6a1745de2ef7" providerId="ADAL" clId="{65DEB11F-16FD-4533-BA7E-942A0CDF210D}" dt="2024-04-17T19:17:40.977" v="333" actId="2711"/>
          <ac:spMkLst>
            <pc:docMk/>
            <pc:sldMk cId="2287366223" sldId="2147472172"/>
            <ac:spMk id="19" creationId="{528C299B-2E22-D351-A1E6-F1D4E9DBAB90}"/>
          </ac:spMkLst>
        </pc:spChg>
        <pc:spChg chg="mod">
          <ac:chgData name="Wang, Timothy J." userId="be135309-baa1-4715-99f0-6a1745de2ef7" providerId="ADAL" clId="{65DEB11F-16FD-4533-BA7E-942A0CDF210D}" dt="2024-04-17T19:17:40.977" v="333" actId="2711"/>
          <ac:spMkLst>
            <pc:docMk/>
            <pc:sldMk cId="2287366223" sldId="2147472172"/>
            <ac:spMk id="20" creationId="{5094C6CA-53BD-3FC8-F9E0-0284A7FBDF75}"/>
          </ac:spMkLst>
        </pc:spChg>
        <pc:spChg chg="mod">
          <ac:chgData name="Wang, Timothy J." userId="be135309-baa1-4715-99f0-6a1745de2ef7" providerId="ADAL" clId="{65DEB11F-16FD-4533-BA7E-942A0CDF210D}" dt="2024-04-17T19:17:40.977" v="333" actId="2711"/>
          <ac:spMkLst>
            <pc:docMk/>
            <pc:sldMk cId="2287366223" sldId="2147472172"/>
            <ac:spMk id="21" creationId="{E87B03DF-C478-106A-6048-671F94C3B377}"/>
          </ac:spMkLst>
        </pc:spChg>
        <pc:spChg chg="mod">
          <ac:chgData name="Wang, Timothy J." userId="be135309-baa1-4715-99f0-6a1745de2ef7" providerId="ADAL" clId="{65DEB11F-16FD-4533-BA7E-942A0CDF210D}" dt="2024-04-17T19:19:32.547" v="339" actId="20577"/>
          <ac:spMkLst>
            <pc:docMk/>
            <pc:sldMk cId="2287366223" sldId="2147472172"/>
            <ac:spMk id="22" creationId="{50ACB90C-C971-F976-757A-63783C7DA843}"/>
          </ac:spMkLst>
        </pc:spChg>
        <pc:spChg chg="add mod">
          <ac:chgData name="Wang, Timothy J." userId="be135309-baa1-4715-99f0-6a1745de2ef7" providerId="ADAL" clId="{65DEB11F-16FD-4533-BA7E-942A0CDF210D}" dt="2024-04-17T19:17:40.977" v="333" actId="2711"/>
          <ac:spMkLst>
            <pc:docMk/>
            <pc:sldMk cId="2287366223" sldId="2147472172"/>
            <ac:spMk id="31" creationId="{AD03C985-FECB-2C80-9420-43CB856D7E19}"/>
          </ac:spMkLst>
        </pc:spChg>
        <pc:spChg chg="add mod">
          <ac:chgData name="Wang, Timothy J." userId="be135309-baa1-4715-99f0-6a1745de2ef7" providerId="ADAL" clId="{65DEB11F-16FD-4533-BA7E-942A0CDF210D}" dt="2024-04-17T19:17:40.977" v="333" actId="2711"/>
          <ac:spMkLst>
            <pc:docMk/>
            <pc:sldMk cId="2287366223" sldId="2147472172"/>
            <ac:spMk id="32" creationId="{DFACAEF7-BD52-EA37-D126-DAEB823217AF}"/>
          </ac:spMkLst>
        </pc:spChg>
        <pc:spChg chg="add mod">
          <ac:chgData name="Wang, Timothy J." userId="be135309-baa1-4715-99f0-6a1745de2ef7" providerId="ADAL" clId="{65DEB11F-16FD-4533-BA7E-942A0CDF210D}" dt="2024-04-17T19:45:20.382" v="1504" actId="403"/>
          <ac:spMkLst>
            <pc:docMk/>
            <pc:sldMk cId="2287366223" sldId="2147472172"/>
            <ac:spMk id="35" creationId="{37575EDD-894E-C1B8-8740-A65C1535C333}"/>
          </ac:spMkLst>
        </pc:spChg>
        <pc:cxnChg chg="add del mod">
          <ac:chgData name="Wang, Timothy J." userId="be135309-baa1-4715-99f0-6a1745de2ef7" providerId="ADAL" clId="{65DEB11F-16FD-4533-BA7E-942A0CDF210D}" dt="2024-04-17T19:13:28.455" v="255" actId="478"/>
          <ac:cxnSpMkLst>
            <pc:docMk/>
            <pc:sldMk cId="2287366223" sldId="2147472172"/>
            <ac:cxnSpMk id="4" creationId="{06D298D4-C880-1A95-8F80-7E2218B8DBAB}"/>
          </ac:cxnSpMkLst>
        </pc:cxnChg>
        <pc:cxnChg chg="add mod">
          <ac:chgData name="Wang, Timothy J." userId="be135309-baa1-4715-99f0-6a1745de2ef7" providerId="ADAL" clId="{65DEB11F-16FD-4533-BA7E-942A0CDF210D}" dt="2024-04-17T19:14:32.984" v="276" actId="14100"/>
          <ac:cxnSpMkLst>
            <pc:docMk/>
            <pc:sldMk cId="2287366223" sldId="2147472172"/>
            <ac:cxnSpMk id="11" creationId="{40EA0107-4A84-9B3D-E45B-FB1F9358E9FC}"/>
          </ac:cxnSpMkLst>
        </pc:cxnChg>
        <pc:cxnChg chg="add mod">
          <ac:chgData name="Wang, Timothy J." userId="be135309-baa1-4715-99f0-6a1745de2ef7" providerId="ADAL" clId="{65DEB11F-16FD-4533-BA7E-942A0CDF210D}" dt="2024-04-17T19:13:54.924" v="262" actId="1076"/>
          <ac:cxnSpMkLst>
            <pc:docMk/>
            <pc:sldMk cId="2287366223" sldId="2147472172"/>
            <ac:cxnSpMk id="13" creationId="{06BAB880-A4A3-EECE-2505-9FC204B5E8AF}"/>
          </ac:cxnSpMkLst>
        </pc:cxnChg>
        <pc:cxnChg chg="add mod">
          <ac:chgData name="Wang, Timothy J." userId="be135309-baa1-4715-99f0-6a1745de2ef7" providerId="ADAL" clId="{65DEB11F-16FD-4533-BA7E-942A0CDF210D}" dt="2024-04-17T19:13:59.395" v="264" actId="1076"/>
          <ac:cxnSpMkLst>
            <pc:docMk/>
            <pc:sldMk cId="2287366223" sldId="2147472172"/>
            <ac:cxnSpMk id="15" creationId="{7D759027-E86F-EBD1-EFDE-3A7674413DE4}"/>
          </ac:cxnSpMkLst>
        </pc:cxnChg>
        <pc:cxnChg chg="add mod">
          <ac:chgData name="Wang, Timothy J." userId="be135309-baa1-4715-99f0-6a1745de2ef7" providerId="ADAL" clId="{65DEB11F-16FD-4533-BA7E-942A0CDF210D}" dt="2024-04-17T19:14:01.801" v="266" actId="1076"/>
          <ac:cxnSpMkLst>
            <pc:docMk/>
            <pc:sldMk cId="2287366223" sldId="2147472172"/>
            <ac:cxnSpMk id="23" creationId="{9AD25D6E-C503-998A-5B46-56B05CB5BDDA}"/>
          </ac:cxnSpMkLst>
        </pc:cxnChg>
        <pc:cxnChg chg="add mod">
          <ac:chgData name="Wang, Timothy J." userId="be135309-baa1-4715-99f0-6a1745de2ef7" providerId="ADAL" clId="{65DEB11F-16FD-4533-BA7E-942A0CDF210D}" dt="2024-04-17T19:14:04.268" v="268" actId="1076"/>
          <ac:cxnSpMkLst>
            <pc:docMk/>
            <pc:sldMk cId="2287366223" sldId="2147472172"/>
            <ac:cxnSpMk id="24" creationId="{C151C52F-7A68-5C65-23D7-209DD681C670}"/>
          </ac:cxnSpMkLst>
        </pc:cxnChg>
        <pc:cxnChg chg="add mod">
          <ac:chgData name="Wang, Timothy J." userId="be135309-baa1-4715-99f0-6a1745de2ef7" providerId="ADAL" clId="{65DEB11F-16FD-4533-BA7E-942A0CDF210D}" dt="2024-04-17T19:14:08.686" v="270" actId="1076"/>
          <ac:cxnSpMkLst>
            <pc:docMk/>
            <pc:sldMk cId="2287366223" sldId="2147472172"/>
            <ac:cxnSpMk id="25" creationId="{E687F974-512C-391F-E2CD-B44BA5B2F773}"/>
          </ac:cxnSpMkLst>
        </pc:cxnChg>
        <pc:cxnChg chg="del">
          <ac:chgData name="Wang, Timothy J." userId="be135309-baa1-4715-99f0-6a1745de2ef7" providerId="ADAL" clId="{65DEB11F-16FD-4533-BA7E-942A0CDF210D}" dt="2024-04-17T19:12:25.876" v="173" actId="478"/>
          <ac:cxnSpMkLst>
            <pc:docMk/>
            <pc:sldMk cId="2287366223" sldId="2147472172"/>
            <ac:cxnSpMk id="26" creationId="{66B44956-2B94-DCD8-9266-6031B8994432}"/>
          </ac:cxnSpMkLst>
        </pc:cxnChg>
        <pc:cxnChg chg="add mod">
          <ac:chgData name="Wang, Timothy J." userId="be135309-baa1-4715-99f0-6a1745de2ef7" providerId="ADAL" clId="{65DEB11F-16FD-4533-BA7E-942A0CDF210D}" dt="2024-04-17T19:14:14.918" v="272" actId="1076"/>
          <ac:cxnSpMkLst>
            <pc:docMk/>
            <pc:sldMk cId="2287366223" sldId="2147472172"/>
            <ac:cxnSpMk id="27" creationId="{26B6F97C-9E00-3246-DD7B-22CF69C7D11E}"/>
          </ac:cxnSpMkLst>
        </pc:cxnChg>
        <pc:cxnChg chg="add mod">
          <ac:chgData name="Wang, Timothy J." userId="be135309-baa1-4715-99f0-6a1745de2ef7" providerId="ADAL" clId="{65DEB11F-16FD-4533-BA7E-942A0CDF210D}" dt="2024-04-17T19:14:29.860" v="275" actId="1582"/>
          <ac:cxnSpMkLst>
            <pc:docMk/>
            <pc:sldMk cId="2287366223" sldId="2147472172"/>
            <ac:cxnSpMk id="29" creationId="{ED61BCB8-CCB5-54FE-D125-C7F8C647F49B}"/>
          </ac:cxnSpMkLst>
        </pc:cxnChg>
        <pc:cxnChg chg="add mod">
          <ac:chgData name="Wang, Timothy J." userId="be135309-baa1-4715-99f0-6a1745de2ef7" providerId="ADAL" clId="{65DEB11F-16FD-4533-BA7E-942A0CDF210D}" dt="2024-04-17T19:17:53.339" v="335" actId="1076"/>
          <ac:cxnSpMkLst>
            <pc:docMk/>
            <pc:sldMk cId="2287366223" sldId="2147472172"/>
            <ac:cxnSpMk id="33" creationId="{8B7A57F8-F608-2005-C8BB-937CCF837078}"/>
          </ac:cxnSpMkLst>
        </pc:cxnChg>
        <pc:cxnChg chg="add mod">
          <ac:chgData name="Wang, Timothy J." userId="be135309-baa1-4715-99f0-6a1745de2ef7" providerId="ADAL" clId="{65DEB11F-16FD-4533-BA7E-942A0CDF210D}" dt="2024-04-17T19:17:59.126" v="337" actId="1076"/>
          <ac:cxnSpMkLst>
            <pc:docMk/>
            <pc:sldMk cId="2287366223" sldId="2147472172"/>
            <ac:cxnSpMk id="34" creationId="{BB9EFC2B-5F3E-80A4-398F-3201C0828A65}"/>
          </ac:cxnSpMkLst>
        </pc:cxnChg>
      </pc:sldChg>
      <pc:sldChg chg="del">
        <pc:chgData name="Wang, Timothy J." userId="be135309-baa1-4715-99f0-6a1745de2ef7" providerId="ADAL" clId="{65DEB11F-16FD-4533-BA7E-942A0CDF210D}" dt="2024-04-17T19:07:37.293" v="2" actId="47"/>
        <pc:sldMkLst>
          <pc:docMk/>
          <pc:sldMk cId="3102237124" sldId="2147472181"/>
        </pc:sldMkLst>
      </pc:sldChg>
      <pc:sldChg chg="addSp delSp modSp mod modTransition">
        <pc:chgData name="Wang, Timothy J." userId="be135309-baa1-4715-99f0-6a1745de2ef7" providerId="ADAL" clId="{65DEB11F-16FD-4533-BA7E-942A0CDF210D}" dt="2024-04-18T09:38:03.226" v="4426"/>
        <pc:sldMkLst>
          <pc:docMk/>
          <pc:sldMk cId="3002326574" sldId="2147472185"/>
        </pc:sldMkLst>
        <pc:spChg chg="mod">
          <ac:chgData name="Wang, Timothy J." userId="be135309-baa1-4715-99f0-6a1745de2ef7" providerId="ADAL" clId="{65DEB11F-16FD-4533-BA7E-942A0CDF210D}" dt="2024-04-17T19:30:35.410" v="849" actId="20577"/>
          <ac:spMkLst>
            <pc:docMk/>
            <pc:sldMk cId="3002326574" sldId="2147472185"/>
            <ac:spMk id="2" creationId="{2551F7BA-9075-7F90-8789-DA086290DD2A}"/>
          </ac:spMkLst>
        </pc:spChg>
        <pc:spChg chg="del">
          <ac:chgData name="Wang, Timothy J." userId="be135309-baa1-4715-99f0-6a1745de2ef7" providerId="ADAL" clId="{65DEB11F-16FD-4533-BA7E-942A0CDF210D}" dt="2024-04-17T19:19:59.997" v="341" actId="478"/>
          <ac:spMkLst>
            <pc:docMk/>
            <pc:sldMk cId="3002326574" sldId="2147472185"/>
            <ac:spMk id="3" creationId="{367FC5F0-1393-83FC-EB0B-48DD439B4D5F}"/>
          </ac:spMkLst>
        </pc:spChg>
        <pc:spChg chg="del">
          <ac:chgData name="Wang, Timothy J." userId="be135309-baa1-4715-99f0-6a1745de2ef7" providerId="ADAL" clId="{65DEB11F-16FD-4533-BA7E-942A0CDF210D}" dt="2024-04-17T19:20:00.873" v="343" actId="478"/>
          <ac:spMkLst>
            <pc:docMk/>
            <pc:sldMk cId="3002326574" sldId="2147472185"/>
            <ac:spMk id="4" creationId="{E39D7598-4434-3767-1CD8-4354552DB488}"/>
          </ac:spMkLst>
        </pc:spChg>
        <pc:spChg chg="del">
          <ac:chgData name="Wang, Timothy J." userId="be135309-baa1-4715-99f0-6a1745de2ef7" providerId="ADAL" clId="{65DEB11F-16FD-4533-BA7E-942A0CDF210D}" dt="2024-04-17T19:20:00.410" v="342" actId="478"/>
          <ac:spMkLst>
            <pc:docMk/>
            <pc:sldMk cId="3002326574" sldId="2147472185"/>
            <ac:spMk id="5" creationId="{D07B5905-2318-B74E-4088-B6FB4125778E}"/>
          </ac:spMkLst>
        </pc:spChg>
        <pc:spChg chg="add mod">
          <ac:chgData name="Wang, Timothy J." userId="be135309-baa1-4715-99f0-6a1745de2ef7" providerId="ADAL" clId="{65DEB11F-16FD-4533-BA7E-942A0CDF210D}" dt="2024-04-17T19:36:48.319" v="1072"/>
          <ac:spMkLst>
            <pc:docMk/>
            <pc:sldMk cId="3002326574" sldId="2147472185"/>
            <ac:spMk id="10" creationId="{3D8FD700-17A7-2A7D-A029-0E8B28ED98B4}"/>
          </ac:spMkLst>
        </pc:spChg>
        <pc:spChg chg="del">
          <ac:chgData name="Wang, Timothy J." userId="be135309-baa1-4715-99f0-6a1745de2ef7" providerId="ADAL" clId="{65DEB11F-16FD-4533-BA7E-942A0CDF210D}" dt="2024-04-17T19:20:02.382" v="344" actId="478"/>
          <ac:spMkLst>
            <pc:docMk/>
            <pc:sldMk cId="3002326574" sldId="2147472185"/>
            <ac:spMk id="15" creationId="{09889BE6-66E5-AF18-97AF-918C83D8A29C}"/>
          </ac:spMkLst>
        </pc:spChg>
        <pc:spChg chg="del">
          <ac:chgData name="Wang, Timothy J." userId="be135309-baa1-4715-99f0-6a1745de2ef7" providerId="ADAL" clId="{65DEB11F-16FD-4533-BA7E-942A0CDF210D}" dt="2024-04-17T19:19:58.919" v="340" actId="478"/>
          <ac:spMkLst>
            <pc:docMk/>
            <pc:sldMk cId="3002326574" sldId="2147472185"/>
            <ac:spMk id="23" creationId="{BD63D64C-9403-6116-1981-4DA4EBF7992D}"/>
          </ac:spMkLst>
        </pc:spChg>
        <pc:spChg chg="del">
          <ac:chgData name="Wang, Timothy J." userId="be135309-baa1-4715-99f0-6a1745de2ef7" providerId="ADAL" clId="{65DEB11F-16FD-4533-BA7E-942A0CDF210D}" dt="2024-04-17T19:19:58.919" v="340" actId="478"/>
          <ac:spMkLst>
            <pc:docMk/>
            <pc:sldMk cId="3002326574" sldId="2147472185"/>
            <ac:spMk id="24" creationId="{088239EA-3D26-E537-1473-8DA97948910B}"/>
          </ac:spMkLst>
        </pc:spChg>
        <pc:spChg chg="del">
          <ac:chgData name="Wang, Timothy J." userId="be135309-baa1-4715-99f0-6a1745de2ef7" providerId="ADAL" clId="{65DEB11F-16FD-4533-BA7E-942A0CDF210D}" dt="2024-04-17T19:19:58.919" v="340" actId="478"/>
          <ac:spMkLst>
            <pc:docMk/>
            <pc:sldMk cId="3002326574" sldId="2147472185"/>
            <ac:spMk id="25" creationId="{DD511805-3132-0696-955A-35EDBD62937E}"/>
          </ac:spMkLst>
        </pc:spChg>
        <pc:spChg chg="del">
          <ac:chgData name="Wang, Timothy J." userId="be135309-baa1-4715-99f0-6a1745de2ef7" providerId="ADAL" clId="{65DEB11F-16FD-4533-BA7E-942A0CDF210D}" dt="2024-04-17T19:20:02.382" v="344" actId="478"/>
          <ac:spMkLst>
            <pc:docMk/>
            <pc:sldMk cId="3002326574" sldId="2147472185"/>
            <ac:spMk id="27" creationId="{DF611F08-F080-6782-1F47-957D15E76FC3}"/>
          </ac:spMkLst>
        </pc:spChg>
        <pc:spChg chg="del">
          <ac:chgData name="Wang, Timothy J." userId="be135309-baa1-4715-99f0-6a1745de2ef7" providerId="ADAL" clId="{65DEB11F-16FD-4533-BA7E-942A0CDF210D}" dt="2024-04-17T19:19:58.919" v="340" actId="478"/>
          <ac:spMkLst>
            <pc:docMk/>
            <pc:sldMk cId="3002326574" sldId="2147472185"/>
            <ac:spMk id="29" creationId="{99C221FA-3483-82BA-F9EC-E9BFB47E704B}"/>
          </ac:spMkLst>
        </pc:spChg>
        <pc:spChg chg="del">
          <ac:chgData name="Wang, Timothy J." userId="be135309-baa1-4715-99f0-6a1745de2ef7" providerId="ADAL" clId="{65DEB11F-16FD-4533-BA7E-942A0CDF210D}" dt="2024-04-17T19:19:58.919" v="340" actId="478"/>
          <ac:spMkLst>
            <pc:docMk/>
            <pc:sldMk cId="3002326574" sldId="2147472185"/>
            <ac:spMk id="30" creationId="{577FDB39-8382-6560-B2F3-ACA9990395D1}"/>
          </ac:spMkLst>
        </pc:spChg>
        <pc:spChg chg="del">
          <ac:chgData name="Wang, Timothy J." userId="be135309-baa1-4715-99f0-6a1745de2ef7" providerId="ADAL" clId="{65DEB11F-16FD-4533-BA7E-942A0CDF210D}" dt="2024-04-17T19:19:58.919" v="340" actId="478"/>
          <ac:spMkLst>
            <pc:docMk/>
            <pc:sldMk cId="3002326574" sldId="2147472185"/>
            <ac:spMk id="31" creationId="{D99109DE-FEF6-4B93-F774-144DB86D13F2}"/>
          </ac:spMkLst>
        </pc:spChg>
        <pc:picChg chg="add del mod">
          <ac:chgData name="Wang, Timothy J." userId="be135309-baa1-4715-99f0-6a1745de2ef7" providerId="ADAL" clId="{65DEB11F-16FD-4533-BA7E-942A0CDF210D}" dt="2024-04-17T19:20:20.816" v="347" actId="478"/>
          <ac:picMkLst>
            <pc:docMk/>
            <pc:sldMk cId="3002326574" sldId="2147472185"/>
            <ac:picMk id="7" creationId="{CC2D2A8B-4C56-6FE5-CF29-EA598E32B66A}"/>
          </ac:picMkLst>
        </pc:picChg>
        <pc:picChg chg="add del mod">
          <ac:chgData name="Wang, Timothy J." userId="be135309-baa1-4715-99f0-6a1745de2ef7" providerId="ADAL" clId="{65DEB11F-16FD-4533-BA7E-942A0CDF210D}" dt="2024-04-17T19:53:59.509" v="1519" actId="478"/>
          <ac:picMkLst>
            <pc:docMk/>
            <pc:sldMk cId="3002326574" sldId="2147472185"/>
            <ac:picMk id="9" creationId="{2429BFBB-E683-E40D-50FC-07B93B91AD2C}"/>
          </ac:picMkLst>
        </pc:picChg>
        <pc:picChg chg="add mod">
          <ac:chgData name="Wang, Timothy J." userId="be135309-baa1-4715-99f0-6a1745de2ef7" providerId="ADAL" clId="{65DEB11F-16FD-4533-BA7E-942A0CDF210D}" dt="2024-04-17T19:54:04.938" v="1522" actId="14100"/>
          <ac:picMkLst>
            <pc:docMk/>
            <pc:sldMk cId="3002326574" sldId="2147472185"/>
            <ac:picMk id="13" creationId="{A49952BC-ED8D-1B06-4E70-6796FDE9052D}"/>
          </ac:picMkLst>
        </pc:picChg>
        <pc:cxnChg chg="del">
          <ac:chgData name="Wang, Timothy J." userId="be135309-baa1-4715-99f0-6a1745de2ef7" providerId="ADAL" clId="{65DEB11F-16FD-4533-BA7E-942A0CDF210D}" dt="2024-04-17T19:19:58.919" v="340" actId="478"/>
          <ac:cxnSpMkLst>
            <pc:docMk/>
            <pc:sldMk cId="3002326574" sldId="2147472185"/>
            <ac:cxnSpMk id="12" creationId="{78F71CA5-DF21-A318-9B64-F9257B9504C5}"/>
          </ac:cxnSpMkLst>
        </pc:cxnChg>
        <pc:cxnChg chg="del">
          <ac:chgData name="Wang, Timothy J." userId="be135309-baa1-4715-99f0-6a1745de2ef7" providerId="ADAL" clId="{65DEB11F-16FD-4533-BA7E-942A0CDF210D}" dt="2024-04-17T19:19:58.919" v="340" actId="478"/>
          <ac:cxnSpMkLst>
            <pc:docMk/>
            <pc:sldMk cId="3002326574" sldId="2147472185"/>
            <ac:cxnSpMk id="28" creationId="{9943B0AD-8298-7657-B20E-3FB8A0D2501F}"/>
          </ac:cxnSpMkLst>
        </pc:cxnChg>
      </pc:sldChg>
      <pc:sldChg chg="addSp delSp modSp mod modTransition">
        <pc:chgData name="Wang, Timothy J." userId="be135309-baa1-4715-99f0-6a1745de2ef7" providerId="ADAL" clId="{65DEB11F-16FD-4533-BA7E-942A0CDF210D}" dt="2024-04-18T09:38:03.228" v="4437"/>
        <pc:sldMkLst>
          <pc:docMk/>
          <pc:sldMk cId="3855394954" sldId="2147472186"/>
        </pc:sldMkLst>
        <pc:spChg chg="mod">
          <ac:chgData name="Wang, Timothy J." userId="be135309-baa1-4715-99f0-6a1745de2ef7" providerId="ADAL" clId="{65DEB11F-16FD-4533-BA7E-942A0CDF210D}" dt="2024-04-17T20:17:51.882" v="1655"/>
          <ac:spMkLst>
            <pc:docMk/>
            <pc:sldMk cId="3855394954" sldId="2147472186"/>
            <ac:spMk id="2" creationId="{2551F7BA-9075-7F90-8789-DA086290DD2A}"/>
          </ac:spMkLst>
        </pc:spChg>
        <pc:spChg chg="add mod">
          <ac:chgData name="Wang, Timothy J." userId="be135309-baa1-4715-99f0-6a1745de2ef7" providerId="ADAL" clId="{65DEB11F-16FD-4533-BA7E-942A0CDF210D}" dt="2024-04-17T20:36:22.854" v="2218"/>
          <ac:spMkLst>
            <pc:docMk/>
            <pc:sldMk cId="3855394954" sldId="2147472186"/>
            <ac:spMk id="5" creationId="{BF8B5CA1-1C66-DF41-1711-D3438C01B4BA}"/>
          </ac:spMkLst>
        </pc:spChg>
        <pc:spChg chg="del">
          <ac:chgData name="Wang, Timothy J." userId="be135309-baa1-4715-99f0-6a1745de2ef7" providerId="ADAL" clId="{65DEB11F-16FD-4533-BA7E-942A0CDF210D}" dt="2024-04-17T20:19:14.603" v="1670" actId="478"/>
          <ac:spMkLst>
            <pc:docMk/>
            <pc:sldMk cId="3855394954" sldId="2147472186"/>
            <ac:spMk id="16" creationId="{DE80361C-C302-C5B8-30D5-30A4AAAE0260}"/>
          </ac:spMkLst>
        </pc:spChg>
        <pc:spChg chg="del mod">
          <ac:chgData name="Wang, Timothy J." userId="be135309-baa1-4715-99f0-6a1745de2ef7" providerId="ADAL" clId="{65DEB11F-16FD-4533-BA7E-942A0CDF210D}" dt="2024-04-17T20:19:14.603" v="1670" actId="478"/>
          <ac:spMkLst>
            <pc:docMk/>
            <pc:sldMk cId="3855394954" sldId="2147472186"/>
            <ac:spMk id="17" creationId="{5DD3FE26-F994-8EA3-C21C-FD249047A836}"/>
          </ac:spMkLst>
        </pc:spChg>
        <pc:spChg chg="del mod">
          <ac:chgData name="Wang, Timothy J." userId="be135309-baa1-4715-99f0-6a1745de2ef7" providerId="ADAL" clId="{65DEB11F-16FD-4533-BA7E-942A0CDF210D}" dt="2024-04-17T20:19:14.603" v="1670" actId="478"/>
          <ac:spMkLst>
            <pc:docMk/>
            <pc:sldMk cId="3855394954" sldId="2147472186"/>
            <ac:spMk id="19" creationId="{AECF39DA-1151-E873-FB42-55B626F60BDA}"/>
          </ac:spMkLst>
        </pc:spChg>
        <pc:spChg chg="del">
          <ac:chgData name="Wang, Timothy J." userId="be135309-baa1-4715-99f0-6a1745de2ef7" providerId="ADAL" clId="{65DEB11F-16FD-4533-BA7E-942A0CDF210D}" dt="2024-04-17T20:19:14.603" v="1670" actId="478"/>
          <ac:spMkLst>
            <pc:docMk/>
            <pc:sldMk cId="3855394954" sldId="2147472186"/>
            <ac:spMk id="20" creationId="{7AEBD785-C80C-2243-A31B-9A84074A0A6D}"/>
          </ac:spMkLst>
        </pc:spChg>
        <pc:spChg chg="del mod">
          <ac:chgData name="Wang, Timothy J." userId="be135309-baa1-4715-99f0-6a1745de2ef7" providerId="ADAL" clId="{65DEB11F-16FD-4533-BA7E-942A0CDF210D}" dt="2024-04-17T20:19:14.603" v="1670" actId="478"/>
          <ac:spMkLst>
            <pc:docMk/>
            <pc:sldMk cId="3855394954" sldId="2147472186"/>
            <ac:spMk id="21" creationId="{12438FB7-37DA-AC0D-E794-FEA51087D192}"/>
          </ac:spMkLst>
        </pc:spChg>
        <pc:spChg chg="del">
          <ac:chgData name="Wang, Timothy J." userId="be135309-baa1-4715-99f0-6a1745de2ef7" providerId="ADAL" clId="{65DEB11F-16FD-4533-BA7E-942A0CDF210D}" dt="2024-04-17T20:19:14.603" v="1670" actId="478"/>
          <ac:spMkLst>
            <pc:docMk/>
            <pc:sldMk cId="3855394954" sldId="2147472186"/>
            <ac:spMk id="22" creationId="{BF69D499-7309-EC64-9CA6-CC48B56D1D8E}"/>
          </ac:spMkLst>
        </pc:spChg>
        <pc:spChg chg="del">
          <ac:chgData name="Wang, Timothy J." userId="be135309-baa1-4715-99f0-6a1745de2ef7" providerId="ADAL" clId="{65DEB11F-16FD-4533-BA7E-942A0CDF210D}" dt="2024-04-17T20:19:14.603" v="1670" actId="478"/>
          <ac:spMkLst>
            <pc:docMk/>
            <pc:sldMk cId="3855394954" sldId="2147472186"/>
            <ac:spMk id="26" creationId="{ABF04844-6DF8-135F-8966-C97EE75A30FC}"/>
          </ac:spMkLst>
        </pc:spChg>
        <pc:spChg chg="del mod">
          <ac:chgData name="Wang, Timothy J." userId="be135309-baa1-4715-99f0-6a1745de2ef7" providerId="ADAL" clId="{65DEB11F-16FD-4533-BA7E-942A0CDF210D}" dt="2024-04-17T20:19:14.603" v="1670" actId="478"/>
          <ac:spMkLst>
            <pc:docMk/>
            <pc:sldMk cId="3855394954" sldId="2147472186"/>
            <ac:spMk id="33" creationId="{B868D10D-8EE5-857A-C3B0-594F549A1967}"/>
          </ac:spMkLst>
        </pc:spChg>
        <pc:spChg chg="del mod">
          <ac:chgData name="Wang, Timothy J." userId="be135309-baa1-4715-99f0-6a1745de2ef7" providerId="ADAL" clId="{65DEB11F-16FD-4533-BA7E-942A0CDF210D}" dt="2024-04-17T20:19:14.603" v="1670" actId="478"/>
          <ac:spMkLst>
            <pc:docMk/>
            <pc:sldMk cId="3855394954" sldId="2147472186"/>
            <ac:spMk id="34" creationId="{1BCEAAED-4A2D-B815-04B9-95C518E96508}"/>
          </ac:spMkLst>
        </pc:spChg>
        <pc:spChg chg="del">
          <ac:chgData name="Wang, Timothy J." userId="be135309-baa1-4715-99f0-6a1745de2ef7" providerId="ADAL" clId="{65DEB11F-16FD-4533-BA7E-942A0CDF210D}" dt="2024-04-17T20:19:14.603" v="1670" actId="478"/>
          <ac:spMkLst>
            <pc:docMk/>
            <pc:sldMk cId="3855394954" sldId="2147472186"/>
            <ac:spMk id="35" creationId="{6BD1A8F0-0294-1690-A565-DBB671E3F10F}"/>
          </ac:spMkLst>
        </pc:spChg>
        <pc:graphicFrameChg chg="add mod modGraphic">
          <ac:chgData name="Wang, Timothy J." userId="be135309-baa1-4715-99f0-6a1745de2ef7" providerId="ADAL" clId="{65DEB11F-16FD-4533-BA7E-942A0CDF210D}" dt="2024-04-17T20:36:26.700" v="2219" actId="1076"/>
          <ac:graphicFrameMkLst>
            <pc:docMk/>
            <pc:sldMk cId="3855394954" sldId="2147472186"/>
            <ac:graphicFrameMk id="4" creationId="{59EDB51E-8219-941E-093B-51EBEE1EA0B5}"/>
          </ac:graphicFrameMkLst>
        </pc:graphicFrameChg>
        <pc:cxnChg chg="del">
          <ac:chgData name="Wang, Timothy J." userId="be135309-baa1-4715-99f0-6a1745de2ef7" providerId="ADAL" clId="{65DEB11F-16FD-4533-BA7E-942A0CDF210D}" dt="2024-04-17T20:19:14.603" v="1670" actId="478"/>
          <ac:cxnSpMkLst>
            <pc:docMk/>
            <pc:sldMk cId="3855394954" sldId="2147472186"/>
            <ac:cxnSpMk id="7" creationId="{B5E4AA51-A053-E1CC-882B-EAD49E6B2C24}"/>
          </ac:cxnSpMkLst>
        </pc:cxnChg>
        <pc:cxnChg chg="del mod">
          <ac:chgData name="Wang, Timothy J." userId="be135309-baa1-4715-99f0-6a1745de2ef7" providerId="ADAL" clId="{65DEB11F-16FD-4533-BA7E-942A0CDF210D}" dt="2024-04-17T20:19:14.603" v="1670" actId="478"/>
          <ac:cxnSpMkLst>
            <pc:docMk/>
            <pc:sldMk cId="3855394954" sldId="2147472186"/>
            <ac:cxnSpMk id="9" creationId="{21592AE1-3711-46EB-385D-EC57F13BF929}"/>
          </ac:cxnSpMkLst>
        </pc:cxnChg>
        <pc:cxnChg chg="del">
          <ac:chgData name="Wang, Timothy J." userId="be135309-baa1-4715-99f0-6a1745de2ef7" providerId="ADAL" clId="{65DEB11F-16FD-4533-BA7E-942A0CDF210D}" dt="2024-04-17T20:19:14.603" v="1670" actId="478"/>
          <ac:cxnSpMkLst>
            <pc:docMk/>
            <pc:sldMk cId="3855394954" sldId="2147472186"/>
            <ac:cxnSpMk id="10" creationId="{AAE43458-2396-3ECF-1E9C-4977D035EF4B}"/>
          </ac:cxnSpMkLst>
        </pc:cxnChg>
        <pc:cxnChg chg="del">
          <ac:chgData name="Wang, Timothy J." userId="be135309-baa1-4715-99f0-6a1745de2ef7" providerId="ADAL" clId="{65DEB11F-16FD-4533-BA7E-942A0CDF210D}" dt="2024-04-17T20:19:14.603" v="1670" actId="478"/>
          <ac:cxnSpMkLst>
            <pc:docMk/>
            <pc:sldMk cId="3855394954" sldId="2147472186"/>
            <ac:cxnSpMk id="11" creationId="{9536972B-C338-752D-B23D-0DB1705AD925}"/>
          </ac:cxnSpMkLst>
        </pc:cxnChg>
        <pc:cxnChg chg="del mod">
          <ac:chgData name="Wang, Timothy J." userId="be135309-baa1-4715-99f0-6a1745de2ef7" providerId="ADAL" clId="{65DEB11F-16FD-4533-BA7E-942A0CDF210D}" dt="2024-04-17T20:19:14.603" v="1670" actId="478"/>
          <ac:cxnSpMkLst>
            <pc:docMk/>
            <pc:sldMk cId="3855394954" sldId="2147472186"/>
            <ac:cxnSpMk id="13" creationId="{07A31B32-3B10-C6C3-36B1-0843B826DA09}"/>
          </ac:cxnSpMkLst>
        </pc:cxnChg>
        <pc:cxnChg chg="del">
          <ac:chgData name="Wang, Timothy J." userId="be135309-baa1-4715-99f0-6a1745de2ef7" providerId="ADAL" clId="{65DEB11F-16FD-4533-BA7E-942A0CDF210D}" dt="2024-04-17T20:19:14.603" v="1670" actId="478"/>
          <ac:cxnSpMkLst>
            <pc:docMk/>
            <pc:sldMk cId="3855394954" sldId="2147472186"/>
            <ac:cxnSpMk id="14" creationId="{57DDD0A3-CFEB-E510-7F9F-2B9C685E3642}"/>
          </ac:cxnSpMkLst>
        </pc:cxnChg>
      </pc:sldChg>
      <pc:sldChg chg="addSp delSp modSp add mod modTransition">
        <pc:chgData name="Wang, Timothy J." userId="be135309-baa1-4715-99f0-6a1745de2ef7" providerId="ADAL" clId="{65DEB11F-16FD-4533-BA7E-942A0CDF210D}" dt="2024-04-18T09:38:03.226" v="4427"/>
        <pc:sldMkLst>
          <pc:docMk/>
          <pc:sldMk cId="3324730333" sldId="2147472187"/>
        </pc:sldMkLst>
        <pc:spChg chg="mod">
          <ac:chgData name="Wang, Timothy J." userId="be135309-baa1-4715-99f0-6a1745de2ef7" providerId="ADAL" clId="{65DEB11F-16FD-4533-BA7E-942A0CDF210D}" dt="2024-04-17T19:30:59.861" v="852" actId="6549"/>
          <ac:spMkLst>
            <pc:docMk/>
            <pc:sldMk cId="3324730333" sldId="2147472187"/>
            <ac:spMk id="2" creationId="{2551F7BA-9075-7F90-8789-DA086290DD2A}"/>
          </ac:spMkLst>
        </pc:spChg>
        <pc:spChg chg="del mod">
          <ac:chgData name="Wang, Timothy J." userId="be135309-baa1-4715-99f0-6a1745de2ef7" providerId="ADAL" clId="{65DEB11F-16FD-4533-BA7E-942A0CDF210D}" dt="2024-04-17T19:41:10.831" v="1126" actId="478"/>
          <ac:spMkLst>
            <pc:docMk/>
            <pc:sldMk cId="3324730333" sldId="2147472187"/>
            <ac:spMk id="10" creationId="{3D8FD700-17A7-2A7D-A029-0E8B28ED98B4}"/>
          </ac:spMkLst>
        </pc:spChg>
        <pc:spChg chg="add mod">
          <ac:chgData name="Wang, Timothy J." userId="be135309-baa1-4715-99f0-6a1745de2ef7" providerId="ADAL" clId="{65DEB11F-16FD-4533-BA7E-942A0CDF210D}" dt="2024-04-17T19:43:39.570" v="1465" actId="1076"/>
          <ac:spMkLst>
            <pc:docMk/>
            <pc:sldMk cId="3324730333" sldId="2147472187"/>
            <ac:spMk id="15" creationId="{5CF6A85C-BCA6-D5B2-E569-7D8588CDAEF8}"/>
          </ac:spMkLst>
        </pc:spChg>
        <pc:picChg chg="add del mod">
          <ac:chgData name="Wang, Timothy J." userId="be135309-baa1-4715-99f0-6a1745de2ef7" providerId="ADAL" clId="{65DEB11F-16FD-4533-BA7E-942A0CDF210D}" dt="2024-04-17T19:25:36.081" v="612" actId="478"/>
          <ac:picMkLst>
            <pc:docMk/>
            <pc:sldMk cId="3324730333" sldId="2147472187"/>
            <ac:picMk id="4" creationId="{95ED18CC-CB6B-BA71-D6D8-C0156293BEF1}"/>
          </ac:picMkLst>
        </pc:picChg>
        <pc:picChg chg="add del mod">
          <ac:chgData name="Wang, Timothy J." userId="be135309-baa1-4715-99f0-6a1745de2ef7" providerId="ADAL" clId="{65DEB11F-16FD-4533-BA7E-942A0CDF210D}" dt="2024-04-17T19:25:47.681" v="616" actId="478"/>
          <ac:picMkLst>
            <pc:docMk/>
            <pc:sldMk cId="3324730333" sldId="2147472187"/>
            <ac:picMk id="6" creationId="{206CE0CA-5747-302C-18B0-F6ED76928AEE}"/>
          </ac:picMkLst>
        </pc:picChg>
        <pc:picChg chg="add del mod">
          <ac:chgData name="Wang, Timothy J." userId="be135309-baa1-4715-99f0-6a1745de2ef7" providerId="ADAL" clId="{65DEB11F-16FD-4533-BA7E-942A0CDF210D}" dt="2024-04-17T19:26:10.425" v="619" actId="478"/>
          <ac:picMkLst>
            <pc:docMk/>
            <pc:sldMk cId="3324730333" sldId="2147472187"/>
            <ac:picMk id="8" creationId="{8470BEC7-DD0B-4D69-4914-99212B379FA4}"/>
          </ac:picMkLst>
        </pc:picChg>
        <pc:picChg chg="del">
          <ac:chgData name="Wang, Timothy J." userId="be135309-baa1-4715-99f0-6a1745de2ef7" providerId="ADAL" clId="{65DEB11F-16FD-4533-BA7E-942A0CDF210D}" dt="2024-04-17T19:23:35.642" v="609" actId="478"/>
          <ac:picMkLst>
            <pc:docMk/>
            <pc:sldMk cId="3324730333" sldId="2147472187"/>
            <ac:picMk id="9" creationId="{2429BFBB-E683-E40D-50FC-07B93B91AD2C}"/>
          </ac:picMkLst>
        </pc:picChg>
        <pc:picChg chg="add del mod">
          <ac:chgData name="Wang, Timothy J." userId="be135309-baa1-4715-99f0-6a1745de2ef7" providerId="ADAL" clId="{65DEB11F-16FD-4533-BA7E-942A0CDF210D}" dt="2024-04-17T19:40:14.824" v="1117" actId="478"/>
          <ac:picMkLst>
            <pc:docMk/>
            <pc:sldMk cId="3324730333" sldId="2147472187"/>
            <ac:picMk id="12" creationId="{A4399757-47CF-257F-7739-B7B26C58E313}"/>
          </ac:picMkLst>
        </pc:picChg>
        <pc:picChg chg="add del mod">
          <ac:chgData name="Wang, Timothy J." userId="be135309-baa1-4715-99f0-6a1745de2ef7" providerId="ADAL" clId="{65DEB11F-16FD-4533-BA7E-942A0CDF210D}" dt="2024-04-17T19:49:26.385" v="1505" actId="478"/>
          <ac:picMkLst>
            <pc:docMk/>
            <pc:sldMk cId="3324730333" sldId="2147472187"/>
            <ac:picMk id="14" creationId="{D76A502C-63D9-E576-E888-06D8930CC02F}"/>
          </ac:picMkLst>
        </pc:picChg>
        <pc:picChg chg="add del mod">
          <ac:chgData name="Wang, Timothy J." userId="be135309-baa1-4715-99f0-6a1745de2ef7" providerId="ADAL" clId="{65DEB11F-16FD-4533-BA7E-942A0CDF210D}" dt="2024-04-17T19:49:34.642" v="1508" actId="478"/>
          <ac:picMkLst>
            <pc:docMk/>
            <pc:sldMk cId="3324730333" sldId="2147472187"/>
            <ac:picMk id="17" creationId="{FFF8364A-34A4-8A97-4174-74383901BECA}"/>
          </ac:picMkLst>
        </pc:picChg>
        <pc:picChg chg="add del mod">
          <ac:chgData name="Wang, Timothy J." userId="be135309-baa1-4715-99f0-6a1745de2ef7" providerId="ADAL" clId="{65DEB11F-16FD-4533-BA7E-942A0CDF210D}" dt="2024-04-17T19:51:48.020" v="1513" actId="478"/>
          <ac:picMkLst>
            <pc:docMk/>
            <pc:sldMk cId="3324730333" sldId="2147472187"/>
            <ac:picMk id="19" creationId="{F1106FEF-D550-5904-80ED-D8AAA533A36A}"/>
          </ac:picMkLst>
        </pc:picChg>
        <pc:picChg chg="add del">
          <ac:chgData name="Wang, Timothy J." userId="be135309-baa1-4715-99f0-6a1745de2ef7" providerId="ADAL" clId="{65DEB11F-16FD-4533-BA7E-942A0CDF210D}" dt="2024-04-17T19:50:43.023" v="1512" actId="478"/>
          <ac:picMkLst>
            <pc:docMk/>
            <pc:sldMk cId="3324730333" sldId="2147472187"/>
            <ac:picMk id="21" creationId="{B287671C-D08A-6077-5284-A2B6F74F2D5F}"/>
          </ac:picMkLst>
        </pc:picChg>
        <pc:picChg chg="add del mod">
          <ac:chgData name="Wang, Timothy J." userId="be135309-baa1-4715-99f0-6a1745de2ef7" providerId="ADAL" clId="{65DEB11F-16FD-4533-BA7E-942A0CDF210D}" dt="2024-04-17T19:52:16.282" v="1516" actId="478"/>
          <ac:picMkLst>
            <pc:docMk/>
            <pc:sldMk cId="3324730333" sldId="2147472187"/>
            <ac:picMk id="23" creationId="{DF7062D5-D305-45D7-A32C-F91DAD131F71}"/>
          </ac:picMkLst>
        </pc:picChg>
        <pc:picChg chg="add mod">
          <ac:chgData name="Wang, Timothy J." userId="be135309-baa1-4715-99f0-6a1745de2ef7" providerId="ADAL" clId="{65DEB11F-16FD-4533-BA7E-942A0CDF210D}" dt="2024-04-17T19:52:59.283" v="1518" actId="1076"/>
          <ac:picMkLst>
            <pc:docMk/>
            <pc:sldMk cId="3324730333" sldId="2147472187"/>
            <ac:picMk id="25" creationId="{866CB0B4-6680-06AE-EB96-00A5C9ACC4FC}"/>
          </ac:picMkLst>
        </pc:picChg>
      </pc:sldChg>
      <pc:sldChg chg="addSp delSp modSp add mod modTransition">
        <pc:chgData name="Wang, Timothy J." userId="be135309-baa1-4715-99f0-6a1745de2ef7" providerId="ADAL" clId="{65DEB11F-16FD-4533-BA7E-942A0CDF210D}" dt="2024-04-18T09:38:03.226" v="4425"/>
        <pc:sldMkLst>
          <pc:docMk/>
          <pc:sldMk cId="4209700434" sldId="2147472188"/>
        </pc:sldMkLst>
        <pc:spChg chg="mod">
          <ac:chgData name="Wang, Timothy J." userId="be135309-baa1-4715-99f0-6a1745de2ef7" providerId="ADAL" clId="{65DEB11F-16FD-4533-BA7E-942A0CDF210D}" dt="2024-04-17T19:31:56.589" v="917" actId="14100"/>
          <ac:spMkLst>
            <pc:docMk/>
            <pc:sldMk cId="4209700434" sldId="2147472188"/>
            <ac:spMk id="2" creationId="{2551F7BA-9075-7F90-8789-DA086290DD2A}"/>
          </ac:spMkLst>
        </pc:spChg>
        <pc:spChg chg="add mod">
          <ac:chgData name="Wang, Timothy J." userId="be135309-baa1-4715-99f0-6a1745de2ef7" providerId="ADAL" clId="{65DEB11F-16FD-4533-BA7E-942A0CDF210D}" dt="2024-04-17T19:39:03.092" v="1113" actId="1076"/>
          <ac:spMkLst>
            <pc:docMk/>
            <pc:sldMk cId="4209700434" sldId="2147472188"/>
            <ac:spMk id="7" creationId="{9B0BF14B-49DF-7F1A-A32C-389355D2F68D}"/>
          </ac:spMkLst>
        </pc:spChg>
        <pc:spChg chg="del">
          <ac:chgData name="Wang, Timothy J." userId="be135309-baa1-4715-99f0-6a1745de2ef7" providerId="ADAL" clId="{65DEB11F-16FD-4533-BA7E-942A0CDF210D}" dt="2024-04-17T19:31:59.492" v="918" actId="478"/>
          <ac:spMkLst>
            <pc:docMk/>
            <pc:sldMk cId="4209700434" sldId="2147472188"/>
            <ac:spMk id="10" creationId="{3D8FD700-17A7-2A7D-A029-0E8B28ED98B4}"/>
          </ac:spMkLst>
        </pc:spChg>
        <pc:spChg chg="add mod">
          <ac:chgData name="Wang, Timothy J." userId="be135309-baa1-4715-99f0-6a1745de2ef7" providerId="ADAL" clId="{65DEB11F-16FD-4533-BA7E-942A0CDF210D}" dt="2024-04-17T19:39:12.597" v="1115" actId="1076"/>
          <ac:spMkLst>
            <pc:docMk/>
            <pc:sldMk cId="4209700434" sldId="2147472188"/>
            <ac:spMk id="13" creationId="{587A9185-628D-7480-1DA8-9811FB010B63}"/>
          </ac:spMkLst>
        </pc:spChg>
        <pc:graphicFrameChg chg="add del mod">
          <ac:chgData name="Wang, Timothy J." userId="be135309-baa1-4715-99f0-6a1745de2ef7" providerId="ADAL" clId="{65DEB11F-16FD-4533-BA7E-942A0CDF210D}" dt="2024-04-17T19:38:19.764" v="1081" actId="478"/>
          <ac:graphicFrameMkLst>
            <pc:docMk/>
            <pc:sldMk cId="4209700434" sldId="2147472188"/>
            <ac:graphicFrameMk id="8" creationId="{10B99742-2C72-520C-1222-50FF07F6C5C2}"/>
          </ac:graphicFrameMkLst>
        </pc:graphicFrameChg>
        <pc:picChg chg="add del">
          <ac:chgData name="Wang, Timothy J." userId="be135309-baa1-4715-99f0-6a1745de2ef7" providerId="ADAL" clId="{65DEB11F-16FD-4533-BA7E-942A0CDF210D}" dt="2024-04-17T19:32:50.592" v="921" actId="478"/>
          <ac:picMkLst>
            <pc:docMk/>
            <pc:sldMk cId="4209700434" sldId="2147472188"/>
            <ac:picMk id="4" creationId="{1B703D5E-7073-0946-55CB-DCDBC32252F5}"/>
          </ac:picMkLst>
        </pc:picChg>
        <pc:picChg chg="add del mod">
          <ac:chgData name="Wang, Timothy J." userId="be135309-baa1-4715-99f0-6a1745de2ef7" providerId="ADAL" clId="{65DEB11F-16FD-4533-BA7E-942A0CDF210D}" dt="2024-04-17T19:54:32.419" v="1523" actId="478"/>
          <ac:picMkLst>
            <pc:docMk/>
            <pc:sldMk cId="4209700434" sldId="2147472188"/>
            <ac:picMk id="6" creationId="{5FBA7C65-E7DB-C678-C389-CCF82CBA5D18}"/>
          </ac:picMkLst>
        </pc:picChg>
        <pc:picChg chg="del">
          <ac:chgData name="Wang, Timothy J." userId="be135309-baa1-4715-99f0-6a1745de2ef7" providerId="ADAL" clId="{65DEB11F-16FD-4533-BA7E-942A0CDF210D}" dt="2024-04-17T19:32:00.699" v="919" actId="478"/>
          <ac:picMkLst>
            <pc:docMk/>
            <pc:sldMk cId="4209700434" sldId="2147472188"/>
            <ac:picMk id="9" creationId="{2429BFBB-E683-E40D-50FC-07B93B91AD2C}"/>
          </ac:picMkLst>
        </pc:picChg>
        <pc:picChg chg="add mod">
          <ac:chgData name="Wang, Timothy J." userId="be135309-baa1-4715-99f0-6a1745de2ef7" providerId="ADAL" clId="{65DEB11F-16FD-4533-BA7E-942A0CDF210D}" dt="2024-04-17T19:38:41.248" v="1084" actId="1076"/>
          <ac:picMkLst>
            <pc:docMk/>
            <pc:sldMk cId="4209700434" sldId="2147472188"/>
            <ac:picMk id="12" creationId="{2982E3BA-8539-32F8-F9A5-16C484736E03}"/>
          </ac:picMkLst>
        </pc:picChg>
        <pc:picChg chg="add del">
          <ac:chgData name="Wang, Timothy J." userId="be135309-baa1-4715-99f0-6a1745de2ef7" providerId="ADAL" clId="{65DEB11F-16FD-4533-BA7E-942A0CDF210D}" dt="2024-04-17T19:55:11.234" v="1525" actId="478"/>
          <ac:picMkLst>
            <pc:docMk/>
            <pc:sldMk cId="4209700434" sldId="2147472188"/>
            <ac:picMk id="15" creationId="{286ADE47-B816-3652-F42B-1A713A7009A7}"/>
          </ac:picMkLst>
        </pc:picChg>
        <pc:picChg chg="add mod">
          <ac:chgData name="Wang, Timothy J." userId="be135309-baa1-4715-99f0-6a1745de2ef7" providerId="ADAL" clId="{65DEB11F-16FD-4533-BA7E-942A0CDF210D}" dt="2024-04-17T19:55:21.094" v="1529" actId="1076"/>
          <ac:picMkLst>
            <pc:docMk/>
            <pc:sldMk cId="4209700434" sldId="2147472188"/>
            <ac:picMk id="17" creationId="{3A15C194-9BE9-A2EA-7E51-911FC64B2D4D}"/>
          </ac:picMkLst>
        </pc:picChg>
      </pc:sldChg>
      <pc:sldChg chg="addSp delSp modSp add mod modTransition">
        <pc:chgData name="Wang, Timothy J." userId="be135309-baa1-4715-99f0-6a1745de2ef7" providerId="ADAL" clId="{65DEB11F-16FD-4533-BA7E-942A0CDF210D}" dt="2024-04-18T09:38:03.227" v="4428"/>
        <pc:sldMkLst>
          <pc:docMk/>
          <pc:sldMk cId="1476955825" sldId="2147472189"/>
        </pc:sldMkLst>
        <pc:spChg chg="mod">
          <ac:chgData name="Wang, Timothy J." userId="be135309-baa1-4715-99f0-6a1745de2ef7" providerId="ADAL" clId="{65DEB11F-16FD-4533-BA7E-942A0CDF210D}" dt="2024-04-18T08:14:47.936" v="2294"/>
          <ac:spMkLst>
            <pc:docMk/>
            <pc:sldMk cId="1476955825" sldId="2147472189"/>
            <ac:spMk id="2" creationId="{2551F7BA-9075-7F90-8789-DA086290DD2A}"/>
          </ac:spMkLst>
        </pc:spChg>
        <pc:spChg chg="add mod">
          <ac:chgData name="Wang, Timothy J." userId="be135309-baa1-4715-99f0-6a1745de2ef7" providerId="ADAL" clId="{65DEB11F-16FD-4533-BA7E-942A0CDF210D}" dt="2024-04-18T08:22:21.262" v="2372" actId="1076"/>
          <ac:spMkLst>
            <pc:docMk/>
            <pc:sldMk cId="1476955825" sldId="2147472189"/>
            <ac:spMk id="3" creationId="{378B726A-F834-86E5-2E55-62180E31E279}"/>
          </ac:spMkLst>
        </pc:spChg>
        <pc:spChg chg="add del mod">
          <ac:chgData name="Wang, Timothy J." userId="be135309-baa1-4715-99f0-6a1745de2ef7" providerId="ADAL" clId="{65DEB11F-16FD-4533-BA7E-942A0CDF210D}" dt="2024-04-18T08:22:13.958" v="2371"/>
          <ac:spMkLst>
            <pc:docMk/>
            <pc:sldMk cId="1476955825" sldId="2147472189"/>
            <ac:spMk id="4" creationId="{EE8EB727-90AC-843A-4798-C63D23D6F421}"/>
          </ac:spMkLst>
        </pc:spChg>
        <pc:spChg chg="add mod">
          <ac:chgData name="Wang, Timothy J." userId="be135309-baa1-4715-99f0-6a1745de2ef7" providerId="ADAL" clId="{65DEB11F-16FD-4533-BA7E-942A0CDF210D}" dt="2024-04-18T08:22:44.894" v="2376"/>
          <ac:spMkLst>
            <pc:docMk/>
            <pc:sldMk cId="1476955825" sldId="2147472189"/>
            <ac:spMk id="5" creationId="{68E4FFD1-7859-BEA4-A2B4-D3657924EA61}"/>
          </ac:spMkLst>
        </pc:spChg>
        <pc:spChg chg="add mod">
          <ac:chgData name="Wang, Timothy J." userId="be135309-baa1-4715-99f0-6a1745de2ef7" providerId="ADAL" clId="{65DEB11F-16FD-4533-BA7E-942A0CDF210D}" dt="2024-04-18T08:26:07.457" v="2584" actId="1037"/>
          <ac:spMkLst>
            <pc:docMk/>
            <pc:sldMk cId="1476955825" sldId="2147472189"/>
            <ac:spMk id="8" creationId="{1F886A15-59C9-3593-213F-7361AD6638B8}"/>
          </ac:spMkLst>
        </pc:spChg>
        <pc:spChg chg="add mod">
          <ac:chgData name="Wang, Timothy J." userId="be135309-baa1-4715-99f0-6a1745de2ef7" providerId="ADAL" clId="{65DEB11F-16FD-4533-BA7E-942A0CDF210D}" dt="2024-04-18T08:26:07.457" v="2584" actId="1037"/>
          <ac:spMkLst>
            <pc:docMk/>
            <pc:sldMk cId="1476955825" sldId="2147472189"/>
            <ac:spMk id="9" creationId="{B9D0F03A-9497-7A86-F679-324FE25773C8}"/>
          </ac:spMkLst>
        </pc:spChg>
        <pc:spChg chg="add mod">
          <ac:chgData name="Wang, Timothy J." userId="be135309-baa1-4715-99f0-6a1745de2ef7" providerId="ADAL" clId="{65DEB11F-16FD-4533-BA7E-942A0CDF210D}" dt="2024-04-18T08:26:07.457" v="2584" actId="1037"/>
          <ac:spMkLst>
            <pc:docMk/>
            <pc:sldMk cId="1476955825" sldId="2147472189"/>
            <ac:spMk id="10" creationId="{9384CC27-C57E-794A-B897-5E8FD8DED895}"/>
          </ac:spMkLst>
        </pc:spChg>
        <pc:spChg chg="del">
          <ac:chgData name="Wang, Timothy J." userId="be135309-baa1-4715-99f0-6a1745de2ef7" providerId="ADAL" clId="{65DEB11F-16FD-4533-BA7E-942A0CDF210D}" dt="2024-04-18T08:14:52.332" v="2296" actId="478"/>
          <ac:spMkLst>
            <pc:docMk/>
            <pc:sldMk cId="1476955825" sldId="2147472189"/>
            <ac:spMk id="15" creationId="{5CF6A85C-BCA6-D5B2-E569-7D8588CDAEF8}"/>
          </ac:spMkLst>
        </pc:spChg>
        <pc:spChg chg="add mod">
          <ac:chgData name="Wang, Timothy J." userId="be135309-baa1-4715-99f0-6a1745de2ef7" providerId="ADAL" clId="{65DEB11F-16FD-4533-BA7E-942A0CDF210D}" dt="2024-04-18T08:26:43.681" v="2605"/>
          <ac:spMkLst>
            <pc:docMk/>
            <pc:sldMk cId="1476955825" sldId="2147472189"/>
            <ac:spMk id="23" creationId="{CCE2756D-5B0C-5530-5367-063318EFADF6}"/>
          </ac:spMkLst>
        </pc:spChg>
        <pc:spChg chg="add mod">
          <ac:chgData name="Wang, Timothy J." userId="be135309-baa1-4715-99f0-6a1745de2ef7" providerId="ADAL" clId="{65DEB11F-16FD-4533-BA7E-942A0CDF210D}" dt="2024-04-18T08:27:54.960" v="2690" actId="1076"/>
          <ac:spMkLst>
            <pc:docMk/>
            <pc:sldMk cId="1476955825" sldId="2147472189"/>
            <ac:spMk id="24" creationId="{D268355F-6279-F37F-D674-5A601678A78E}"/>
          </ac:spMkLst>
        </pc:spChg>
        <pc:picChg chg="del">
          <ac:chgData name="Wang, Timothy J." userId="be135309-baa1-4715-99f0-6a1745de2ef7" providerId="ADAL" clId="{65DEB11F-16FD-4533-BA7E-942A0CDF210D}" dt="2024-04-18T08:14:50.182" v="2295" actId="478"/>
          <ac:picMkLst>
            <pc:docMk/>
            <pc:sldMk cId="1476955825" sldId="2147472189"/>
            <ac:picMk id="25" creationId="{866CB0B4-6680-06AE-EB96-00A5C9ACC4FC}"/>
          </ac:picMkLst>
        </pc:picChg>
        <pc:cxnChg chg="add mod">
          <ac:chgData name="Wang, Timothy J." userId="be135309-baa1-4715-99f0-6a1745de2ef7" providerId="ADAL" clId="{65DEB11F-16FD-4533-BA7E-942A0CDF210D}" dt="2024-04-18T08:22:56.492" v="2379" actId="208"/>
          <ac:cxnSpMkLst>
            <pc:docMk/>
            <pc:sldMk cId="1476955825" sldId="2147472189"/>
            <ac:cxnSpMk id="7" creationId="{DA0ECE32-AF59-AB6D-B90D-BB4C0342C4A0}"/>
          </ac:cxnSpMkLst>
        </pc:cxnChg>
        <pc:cxnChg chg="add mod">
          <ac:chgData name="Wang, Timothy J." userId="be135309-baa1-4715-99f0-6a1745de2ef7" providerId="ADAL" clId="{65DEB11F-16FD-4533-BA7E-942A0CDF210D}" dt="2024-04-18T08:26:07.457" v="2584" actId="1037"/>
          <ac:cxnSpMkLst>
            <pc:docMk/>
            <pc:sldMk cId="1476955825" sldId="2147472189"/>
            <ac:cxnSpMk id="12" creationId="{A0702A92-4B31-7D7E-9381-5E7C00FDB2CD}"/>
          </ac:cxnSpMkLst>
        </pc:cxnChg>
        <pc:cxnChg chg="add mod">
          <ac:chgData name="Wang, Timothy J." userId="be135309-baa1-4715-99f0-6a1745de2ef7" providerId="ADAL" clId="{65DEB11F-16FD-4533-BA7E-942A0CDF210D}" dt="2024-04-18T08:26:07.457" v="2584" actId="1037"/>
          <ac:cxnSpMkLst>
            <pc:docMk/>
            <pc:sldMk cId="1476955825" sldId="2147472189"/>
            <ac:cxnSpMk id="14" creationId="{E4F8A3E0-7532-FEF5-DFC8-3D11B6A36F31}"/>
          </ac:cxnSpMkLst>
        </pc:cxnChg>
        <pc:cxnChg chg="add mod">
          <ac:chgData name="Wang, Timothy J." userId="be135309-baa1-4715-99f0-6a1745de2ef7" providerId="ADAL" clId="{65DEB11F-16FD-4533-BA7E-942A0CDF210D}" dt="2024-04-18T08:26:07.457" v="2584" actId="1037"/>
          <ac:cxnSpMkLst>
            <pc:docMk/>
            <pc:sldMk cId="1476955825" sldId="2147472189"/>
            <ac:cxnSpMk id="21" creationId="{2568D4DE-0ADE-470C-E27C-49089F85A4FB}"/>
          </ac:cxnSpMkLst>
        </pc:cxnChg>
      </pc:sldChg>
      <pc:sldChg chg="addSp delSp modSp add mod modTransition">
        <pc:chgData name="Wang, Timothy J." userId="be135309-baa1-4715-99f0-6a1745de2ef7" providerId="ADAL" clId="{65DEB11F-16FD-4533-BA7E-942A0CDF210D}" dt="2024-04-18T09:38:03.227" v="4429"/>
        <pc:sldMkLst>
          <pc:docMk/>
          <pc:sldMk cId="2940506857" sldId="2147472190"/>
        </pc:sldMkLst>
        <pc:spChg chg="mod">
          <ac:chgData name="Wang, Timothy J." userId="be135309-baa1-4715-99f0-6a1745de2ef7" providerId="ADAL" clId="{65DEB11F-16FD-4533-BA7E-942A0CDF210D}" dt="2024-04-18T08:28:33.389" v="2716"/>
          <ac:spMkLst>
            <pc:docMk/>
            <pc:sldMk cId="2940506857" sldId="2147472190"/>
            <ac:spMk id="2" creationId="{2551F7BA-9075-7F90-8789-DA086290DD2A}"/>
          </ac:spMkLst>
        </pc:spChg>
        <pc:spChg chg="del mod">
          <ac:chgData name="Wang, Timothy J." userId="be135309-baa1-4715-99f0-6a1745de2ef7" providerId="ADAL" clId="{65DEB11F-16FD-4533-BA7E-942A0CDF210D}" dt="2024-04-18T08:30:14.093" v="2731" actId="478"/>
          <ac:spMkLst>
            <pc:docMk/>
            <pc:sldMk cId="2940506857" sldId="2147472190"/>
            <ac:spMk id="3" creationId="{378B726A-F834-86E5-2E55-62180E31E279}"/>
          </ac:spMkLst>
        </pc:spChg>
        <pc:spChg chg="mod">
          <ac:chgData name="Wang, Timothy J." userId="be135309-baa1-4715-99f0-6a1745de2ef7" providerId="ADAL" clId="{65DEB11F-16FD-4533-BA7E-942A0CDF210D}" dt="2024-04-18T08:28:42.074" v="2719"/>
          <ac:spMkLst>
            <pc:docMk/>
            <pc:sldMk cId="2940506857" sldId="2147472190"/>
            <ac:spMk id="5" creationId="{68E4FFD1-7859-BEA4-A2B4-D3657924EA61}"/>
          </ac:spMkLst>
        </pc:spChg>
        <pc:spChg chg="mod">
          <ac:chgData name="Wang, Timothy J." userId="be135309-baa1-4715-99f0-6a1745de2ef7" providerId="ADAL" clId="{65DEB11F-16FD-4533-BA7E-942A0CDF210D}" dt="2024-04-18T08:31:21.148" v="2748" actId="14100"/>
          <ac:spMkLst>
            <pc:docMk/>
            <pc:sldMk cId="2940506857" sldId="2147472190"/>
            <ac:spMk id="8" creationId="{1F886A15-59C9-3593-213F-7361AD6638B8}"/>
          </ac:spMkLst>
        </pc:spChg>
        <pc:spChg chg="mod">
          <ac:chgData name="Wang, Timothy J." userId="be135309-baa1-4715-99f0-6a1745de2ef7" providerId="ADAL" clId="{65DEB11F-16FD-4533-BA7E-942A0CDF210D}" dt="2024-04-18T08:35:27.581" v="2757" actId="1076"/>
          <ac:spMkLst>
            <pc:docMk/>
            <pc:sldMk cId="2940506857" sldId="2147472190"/>
            <ac:spMk id="9" creationId="{B9D0F03A-9497-7A86-F679-324FE25773C8}"/>
          </ac:spMkLst>
        </pc:spChg>
        <pc:spChg chg="mod">
          <ac:chgData name="Wang, Timothy J." userId="be135309-baa1-4715-99f0-6a1745de2ef7" providerId="ADAL" clId="{65DEB11F-16FD-4533-BA7E-942A0CDF210D}" dt="2024-04-18T08:35:04.787" v="2750" actId="14100"/>
          <ac:spMkLst>
            <pc:docMk/>
            <pc:sldMk cId="2940506857" sldId="2147472190"/>
            <ac:spMk id="10" creationId="{9384CC27-C57E-794A-B897-5E8FD8DED895}"/>
          </ac:spMkLst>
        </pc:spChg>
        <pc:spChg chg="del">
          <ac:chgData name="Wang, Timothy J." userId="be135309-baa1-4715-99f0-6a1745de2ef7" providerId="ADAL" clId="{65DEB11F-16FD-4533-BA7E-942A0CDF210D}" dt="2024-04-18T08:31:16.097" v="2747" actId="478"/>
          <ac:spMkLst>
            <pc:docMk/>
            <pc:sldMk cId="2940506857" sldId="2147472190"/>
            <ac:spMk id="23" creationId="{CCE2756D-5B0C-5530-5367-063318EFADF6}"/>
          </ac:spMkLst>
        </pc:spChg>
        <pc:spChg chg="del">
          <ac:chgData name="Wang, Timothy J." userId="be135309-baa1-4715-99f0-6a1745de2ef7" providerId="ADAL" clId="{65DEB11F-16FD-4533-BA7E-942A0CDF210D}" dt="2024-04-18T08:30:17.063" v="2732" actId="478"/>
          <ac:spMkLst>
            <pc:docMk/>
            <pc:sldMk cId="2940506857" sldId="2147472190"/>
            <ac:spMk id="24" creationId="{D268355F-6279-F37F-D674-5A601678A78E}"/>
          </ac:spMkLst>
        </pc:spChg>
        <pc:spChg chg="add mod">
          <ac:chgData name="Wang, Timothy J." userId="be135309-baa1-4715-99f0-6a1745de2ef7" providerId="ADAL" clId="{65DEB11F-16FD-4533-BA7E-942A0CDF210D}" dt="2024-04-18T08:38:39.958" v="2855" actId="207"/>
          <ac:spMkLst>
            <pc:docMk/>
            <pc:sldMk cId="2940506857" sldId="2147472190"/>
            <ac:spMk id="42" creationId="{607314A8-465E-A866-916E-AB0FFD2EA0F4}"/>
          </ac:spMkLst>
        </pc:spChg>
        <pc:spChg chg="add mod">
          <ac:chgData name="Wang, Timothy J." userId="be135309-baa1-4715-99f0-6a1745de2ef7" providerId="ADAL" clId="{65DEB11F-16FD-4533-BA7E-942A0CDF210D}" dt="2024-04-18T08:39:35.865" v="3010"/>
          <ac:spMkLst>
            <pc:docMk/>
            <pc:sldMk cId="2940506857" sldId="2147472190"/>
            <ac:spMk id="43" creationId="{F1DAF5DA-D83C-10BC-4F24-9163C69983B3}"/>
          </ac:spMkLst>
        </pc:spChg>
        <pc:spChg chg="add mod">
          <ac:chgData name="Wang, Timothy J." userId="be135309-baa1-4715-99f0-6a1745de2ef7" providerId="ADAL" clId="{65DEB11F-16FD-4533-BA7E-942A0CDF210D}" dt="2024-04-18T08:42:10.341" v="3389"/>
          <ac:spMkLst>
            <pc:docMk/>
            <pc:sldMk cId="2940506857" sldId="2147472190"/>
            <ac:spMk id="44" creationId="{B2A2BEBC-18BD-4E1A-49BC-D0B7C9E62254}"/>
          </ac:spMkLst>
        </pc:spChg>
        <pc:cxnChg chg="mod">
          <ac:chgData name="Wang, Timothy J." userId="be135309-baa1-4715-99f0-6a1745de2ef7" providerId="ADAL" clId="{65DEB11F-16FD-4533-BA7E-942A0CDF210D}" dt="2024-04-18T08:31:12.374" v="2746" actId="14100"/>
          <ac:cxnSpMkLst>
            <pc:docMk/>
            <pc:sldMk cId="2940506857" sldId="2147472190"/>
            <ac:cxnSpMk id="7" creationId="{DA0ECE32-AF59-AB6D-B90D-BB4C0342C4A0}"/>
          </ac:cxnSpMkLst>
        </pc:cxnChg>
        <pc:cxnChg chg="del mod">
          <ac:chgData name="Wang, Timothy J." userId="be135309-baa1-4715-99f0-6a1745de2ef7" providerId="ADAL" clId="{65DEB11F-16FD-4533-BA7E-942A0CDF210D}" dt="2024-04-18T08:35:10.720" v="2751" actId="478"/>
          <ac:cxnSpMkLst>
            <pc:docMk/>
            <pc:sldMk cId="2940506857" sldId="2147472190"/>
            <ac:cxnSpMk id="12" creationId="{A0702A92-4B31-7D7E-9381-5E7C00FDB2CD}"/>
          </ac:cxnSpMkLst>
        </pc:cxnChg>
        <pc:cxnChg chg="mod">
          <ac:chgData name="Wang, Timothy J." userId="be135309-baa1-4715-99f0-6a1745de2ef7" providerId="ADAL" clId="{65DEB11F-16FD-4533-BA7E-942A0CDF210D}" dt="2024-04-18T08:35:04.787" v="2750" actId="14100"/>
          <ac:cxnSpMkLst>
            <pc:docMk/>
            <pc:sldMk cId="2940506857" sldId="2147472190"/>
            <ac:cxnSpMk id="14" creationId="{E4F8A3E0-7532-FEF5-DFC8-3D11B6A36F31}"/>
          </ac:cxnSpMkLst>
        </pc:cxnChg>
        <pc:cxnChg chg="mod">
          <ac:chgData name="Wang, Timothy J." userId="be135309-baa1-4715-99f0-6a1745de2ef7" providerId="ADAL" clId="{65DEB11F-16FD-4533-BA7E-942A0CDF210D}" dt="2024-04-18T08:35:27.581" v="2757" actId="1076"/>
          <ac:cxnSpMkLst>
            <pc:docMk/>
            <pc:sldMk cId="2940506857" sldId="2147472190"/>
            <ac:cxnSpMk id="21" creationId="{2568D4DE-0ADE-470C-E27C-49089F85A4FB}"/>
          </ac:cxnSpMkLst>
        </pc:cxnChg>
        <pc:cxnChg chg="add mod">
          <ac:chgData name="Wang, Timothy J." userId="be135309-baa1-4715-99f0-6a1745de2ef7" providerId="ADAL" clId="{65DEB11F-16FD-4533-BA7E-942A0CDF210D}" dt="2024-04-18T08:35:21.350" v="2756" actId="14100"/>
          <ac:cxnSpMkLst>
            <pc:docMk/>
            <pc:sldMk cId="2940506857" sldId="2147472190"/>
            <ac:cxnSpMk id="30" creationId="{3BF7FF3B-FC86-795A-9B2D-68D905C225E9}"/>
          </ac:cxnSpMkLst>
        </pc:cxnChg>
        <pc:cxnChg chg="add mod">
          <ac:chgData name="Wang, Timothy J." userId="be135309-baa1-4715-99f0-6a1745de2ef7" providerId="ADAL" clId="{65DEB11F-16FD-4533-BA7E-942A0CDF210D}" dt="2024-04-18T08:36:43.415" v="2774" actId="14100"/>
          <ac:cxnSpMkLst>
            <pc:docMk/>
            <pc:sldMk cId="2940506857" sldId="2147472190"/>
            <ac:cxnSpMk id="34" creationId="{0CA4E743-E6A6-00CD-9A1D-3B9A01F2E9C3}"/>
          </ac:cxnSpMkLst>
        </pc:cxnChg>
        <pc:cxnChg chg="add mod">
          <ac:chgData name="Wang, Timothy J." userId="be135309-baa1-4715-99f0-6a1745de2ef7" providerId="ADAL" clId="{65DEB11F-16FD-4533-BA7E-942A0CDF210D}" dt="2024-04-18T08:36:50.757" v="2778" actId="1035"/>
          <ac:cxnSpMkLst>
            <pc:docMk/>
            <pc:sldMk cId="2940506857" sldId="2147472190"/>
            <ac:cxnSpMk id="38" creationId="{52E362A6-DDD7-F9E3-6D7F-8CB86CB9E2DE}"/>
          </ac:cxnSpMkLst>
        </pc:cxnChg>
        <pc:cxnChg chg="add mod">
          <ac:chgData name="Wang, Timothy J." userId="be135309-baa1-4715-99f0-6a1745de2ef7" providerId="ADAL" clId="{65DEB11F-16FD-4533-BA7E-942A0CDF210D}" dt="2024-04-18T08:36:50.757" v="2778" actId="1035"/>
          <ac:cxnSpMkLst>
            <pc:docMk/>
            <pc:sldMk cId="2940506857" sldId="2147472190"/>
            <ac:cxnSpMk id="39" creationId="{F03CAFF7-C0E1-4C51-362B-5C768D7439F0}"/>
          </ac:cxnSpMkLst>
        </pc:cxnChg>
      </pc:sldChg>
      <pc:sldChg chg="addSp delSp modSp add mod modTransition">
        <pc:chgData name="Wang, Timothy J." userId="be135309-baa1-4715-99f0-6a1745de2ef7" providerId="ADAL" clId="{65DEB11F-16FD-4533-BA7E-942A0CDF210D}" dt="2024-04-18T09:38:03.227" v="4430"/>
        <pc:sldMkLst>
          <pc:docMk/>
          <pc:sldMk cId="2724905872" sldId="2147472191"/>
        </pc:sldMkLst>
        <pc:spChg chg="mod">
          <ac:chgData name="Wang, Timothy J." userId="be135309-baa1-4715-99f0-6a1745de2ef7" providerId="ADAL" clId="{65DEB11F-16FD-4533-BA7E-942A0CDF210D}" dt="2024-04-18T08:42:43.754" v="3395"/>
          <ac:spMkLst>
            <pc:docMk/>
            <pc:sldMk cId="2724905872" sldId="2147472191"/>
            <ac:spMk id="2" creationId="{2551F7BA-9075-7F90-8789-DA086290DD2A}"/>
          </ac:spMkLst>
        </pc:spChg>
        <pc:spChg chg="mod">
          <ac:chgData name="Wang, Timothy J." userId="be135309-baa1-4715-99f0-6a1745de2ef7" providerId="ADAL" clId="{65DEB11F-16FD-4533-BA7E-942A0CDF210D}" dt="2024-04-18T08:43:05.541" v="3414" actId="1035"/>
          <ac:spMkLst>
            <pc:docMk/>
            <pc:sldMk cId="2724905872" sldId="2147472191"/>
            <ac:spMk id="8" creationId="{1F886A15-59C9-3593-213F-7361AD6638B8}"/>
          </ac:spMkLst>
        </pc:spChg>
        <pc:spChg chg="del">
          <ac:chgData name="Wang, Timothy J." userId="be135309-baa1-4715-99f0-6a1745de2ef7" providerId="ADAL" clId="{65DEB11F-16FD-4533-BA7E-942A0CDF210D}" dt="2024-04-18T08:42:51.152" v="3396" actId="478"/>
          <ac:spMkLst>
            <pc:docMk/>
            <pc:sldMk cId="2724905872" sldId="2147472191"/>
            <ac:spMk id="9" creationId="{B9D0F03A-9497-7A86-F679-324FE25773C8}"/>
          </ac:spMkLst>
        </pc:spChg>
        <pc:spChg chg="del">
          <ac:chgData name="Wang, Timothy J." userId="be135309-baa1-4715-99f0-6a1745de2ef7" providerId="ADAL" clId="{65DEB11F-16FD-4533-BA7E-942A0CDF210D}" dt="2024-04-18T08:42:51.152" v="3396" actId="478"/>
          <ac:spMkLst>
            <pc:docMk/>
            <pc:sldMk cId="2724905872" sldId="2147472191"/>
            <ac:spMk id="10" creationId="{9384CC27-C57E-794A-B897-5E8FD8DED895}"/>
          </ac:spMkLst>
        </pc:spChg>
        <pc:spChg chg="add mod">
          <ac:chgData name="Wang, Timothy J." userId="be135309-baa1-4715-99f0-6a1745de2ef7" providerId="ADAL" clId="{65DEB11F-16FD-4533-BA7E-942A0CDF210D}" dt="2024-04-18T08:47:23.614" v="3496" actId="1076"/>
          <ac:spMkLst>
            <pc:docMk/>
            <pc:sldMk cId="2724905872" sldId="2147472191"/>
            <ac:spMk id="11" creationId="{890CFDEC-F745-74A1-456D-8BAE26508D08}"/>
          </ac:spMkLst>
        </pc:spChg>
        <pc:spChg chg="mod">
          <ac:chgData name="Wang, Timothy J." userId="be135309-baa1-4715-99f0-6a1745de2ef7" providerId="ADAL" clId="{65DEB11F-16FD-4533-BA7E-942A0CDF210D}" dt="2024-04-18T08:43:11.721" v="3415" actId="1076"/>
          <ac:spMkLst>
            <pc:docMk/>
            <pc:sldMk cId="2724905872" sldId="2147472191"/>
            <ac:spMk id="42" creationId="{607314A8-465E-A866-916E-AB0FFD2EA0F4}"/>
          </ac:spMkLst>
        </pc:spChg>
        <pc:spChg chg="del">
          <ac:chgData name="Wang, Timothy J." userId="be135309-baa1-4715-99f0-6a1745de2ef7" providerId="ADAL" clId="{65DEB11F-16FD-4533-BA7E-942A0CDF210D}" dt="2024-04-18T08:42:51.152" v="3396" actId="478"/>
          <ac:spMkLst>
            <pc:docMk/>
            <pc:sldMk cId="2724905872" sldId="2147472191"/>
            <ac:spMk id="43" creationId="{F1DAF5DA-D83C-10BC-4F24-9163C69983B3}"/>
          </ac:spMkLst>
        </pc:spChg>
        <pc:spChg chg="del">
          <ac:chgData name="Wang, Timothy J." userId="be135309-baa1-4715-99f0-6a1745de2ef7" providerId="ADAL" clId="{65DEB11F-16FD-4533-BA7E-942A0CDF210D}" dt="2024-04-18T08:42:51.152" v="3396" actId="478"/>
          <ac:spMkLst>
            <pc:docMk/>
            <pc:sldMk cId="2724905872" sldId="2147472191"/>
            <ac:spMk id="44" creationId="{B2A2BEBC-18BD-4E1A-49BC-D0B7C9E62254}"/>
          </ac:spMkLst>
        </pc:spChg>
        <pc:graphicFrameChg chg="add mod modGraphic">
          <ac:chgData name="Wang, Timothy J." userId="be135309-baa1-4715-99f0-6a1745de2ef7" providerId="ADAL" clId="{65DEB11F-16FD-4533-BA7E-942A0CDF210D}" dt="2024-04-18T08:47:30.021" v="3497" actId="1076"/>
          <ac:graphicFrameMkLst>
            <pc:docMk/>
            <pc:sldMk cId="2724905872" sldId="2147472191"/>
            <ac:graphicFrameMk id="6" creationId="{F7C85A33-D6D5-1DB9-F750-73A49E7018A0}"/>
          </ac:graphicFrameMkLst>
        </pc:graphicFrameChg>
        <pc:cxnChg chg="mod">
          <ac:chgData name="Wang, Timothy J." userId="be135309-baa1-4715-99f0-6a1745de2ef7" providerId="ADAL" clId="{65DEB11F-16FD-4533-BA7E-942A0CDF210D}" dt="2024-04-18T08:43:14.879" v="3416" actId="14100"/>
          <ac:cxnSpMkLst>
            <pc:docMk/>
            <pc:sldMk cId="2724905872" sldId="2147472191"/>
            <ac:cxnSpMk id="7" creationId="{DA0ECE32-AF59-AB6D-B90D-BB4C0342C4A0}"/>
          </ac:cxnSpMkLst>
        </pc:cxnChg>
        <pc:cxnChg chg="del mod">
          <ac:chgData name="Wang, Timothy J." userId="be135309-baa1-4715-99f0-6a1745de2ef7" providerId="ADAL" clId="{65DEB11F-16FD-4533-BA7E-942A0CDF210D}" dt="2024-04-18T08:42:54.127" v="3398" actId="478"/>
          <ac:cxnSpMkLst>
            <pc:docMk/>
            <pc:sldMk cId="2724905872" sldId="2147472191"/>
            <ac:cxnSpMk id="14" creationId="{E4F8A3E0-7532-FEF5-DFC8-3D11B6A36F31}"/>
          </ac:cxnSpMkLst>
        </pc:cxnChg>
        <pc:cxnChg chg="del mod">
          <ac:chgData name="Wang, Timothy J." userId="be135309-baa1-4715-99f0-6a1745de2ef7" providerId="ADAL" clId="{65DEB11F-16FD-4533-BA7E-942A0CDF210D}" dt="2024-04-18T08:42:53.633" v="3397" actId="478"/>
          <ac:cxnSpMkLst>
            <pc:docMk/>
            <pc:sldMk cId="2724905872" sldId="2147472191"/>
            <ac:cxnSpMk id="21" creationId="{2568D4DE-0ADE-470C-E27C-49089F85A4FB}"/>
          </ac:cxnSpMkLst>
        </pc:cxnChg>
        <pc:cxnChg chg="mod">
          <ac:chgData name="Wang, Timothy J." userId="be135309-baa1-4715-99f0-6a1745de2ef7" providerId="ADAL" clId="{65DEB11F-16FD-4533-BA7E-942A0CDF210D}" dt="2024-04-18T08:43:05.541" v="3414" actId="1035"/>
          <ac:cxnSpMkLst>
            <pc:docMk/>
            <pc:sldMk cId="2724905872" sldId="2147472191"/>
            <ac:cxnSpMk id="30" creationId="{3BF7FF3B-FC86-795A-9B2D-68D905C225E9}"/>
          </ac:cxnSpMkLst>
        </pc:cxnChg>
        <pc:cxnChg chg="mod">
          <ac:chgData name="Wang, Timothy J." userId="be135309-baa1-4715-99f0-6a1745de2ef7" providerId="ADAL" clId="{65DEB11F-16FD-4533-BA7E-942A0CDF210D}" dt="2024-04-18T08:43:05.541" v="3414" actId="1035"/>
          <ac:cxnSpMkLst>
            <pc:docMk/>
            <pc:sldMk cId="2724905872" sldId="2147472191"/>
            <ac:cxnSpMk id="34" creationId="{0CA4E743-E6A6-00CD-9A1D-3B9A01F2E9C3}"/>
          </ac:cxnSpMkLst>
        </pc:cxnChg>
        <pc:cxnChg chg="del mod">
          <ac:chgData name="Wang, Timothy J." userId="be135309-baa1-4715-99f0-6a1745de2ef7" providerId="ADAL" clId="{65DEB11F-16FD-4533-BA7E-942A0CDF210D}" dt="2024-04-18T08:42:51.152" v="3396" actId="478"/>
          <ac:cxnSpMkLst>
            <pc:docMk/>
            <pc:sldMk cId="2724905872" sldId="2147472191"/>
            <ac:cxnSpMk id="38" creationId="{52E362A6-DDD7-F9E3-6D7F-8CB86CB9E2DE}"/>
          </ac:cxnSpMkLst>
        </pc:cxnChg>
        <pc:cxnChg chg="del mod">
          <ac:chgData name="Wang, Timothy J." userId="be135309-baa1-4715-99f0-6a1745de2ef7" providerId="ADAL" clId="{65DEB11F-16FD-4533-BA7E-942A0CDF210D}" dt="2024-04-18T08:42:51.152" v="3396" actId="478"/>
          <ac:cxnSpMkLst>
            <pc:docMk/>
            <pc:sldMk cId="2724905872" sldId="2147472191"/>
            <ac:cxnSpMk id="39" creationId="{F03CAFF7-C0E1-4C51-362B-5C768D7439F0}"/>
          </ac:cxnSpMkLst>
        </pc:cxnChg>
      </pc:sldChg>
      <pc:sldChg chg="addSp delSp modSp add mod modTransition">
        <pc:chgData name="Wang, Timothy J." userId="be135309-baa1-4715-99f0-6a1745de2ef7" providerId="ADAL" clId="{65DEB11F-16FD-4533-BA7E-942A0CDF210D}" dt="2024-04-18T09:38:03.227" v="4431"/>
        <pc:sldMkLst>
          <pc:docMk/>
          <pc:sldMk cId="3923256778" sldId="2147472192"/>
        </pc:sldMkLst>
        <pc:spChg chg="mod">
          <ac:chgData name="Wang, Timothy J." userId="be135309-baa1-4715-99f0-6a1745de2ef7" providerId="ADAL" clId="{65DEB11F-16FD-4533-BA7E-942A0CDF210D}" dt="2024-04-18T08:49:16.820" v="3552" actId="20577"/>
          <ac:spMkLst>
            <pc:docMk/>
            <pc:sldMk cId="3923256778" sldId="2147472192"/>
            <ac:spMk id="2" creationId="{2551F7BA-9075-7F90-8789-DA086290DD2A}"/>
          </ac:spMkLst>
        </pc:spChg>
        <pc:spChg chg="del">
          <ac:chgData name="Wang, Timothy J." userId="be135309-baa1-4715-99f0-6a1745de2ef7" providerId="ADAL" clId="{65DEB11F-16FD-4533-BA7E-942A0CDF210D}" dt="2024-04-18T08:48:19.813" v="3499" actId="478"/>
          <ac:spMkLst>
            <pc:docMk/>
            <pc:sldMk cId="3923256778" sldId="2147472192"/>
            <ac:spMk id="8" creationId="{1F886A15-59C9-3593-213F-7361AD6638B8}"/>
          </ac:spMkLst>
        </pc:spChg>
        <pc:spChg chg="mod">
          <ac:chgData name="Wang, Timothy J." userId="be135309-baa1-4715-99f0-6a1745de2ef7" providerId="ADAL" clId="{65DEB11F-16FD-4533-BA7E-942A0CDF210D}" dt="2024-04-18T08:48:58.637" v="3548" actId="1036"/>
          <ac:spMkLst>
            <pc:docMk/>
            <pc:sldMk cId="3923256778" sldId="2147472192"/>
            <ac:spMk id="9" creationId="{B9D0F03A-9497-7A86-F679-324FE25773C8}"/>
          </ac:spMkLst>
        </pc:spChg>
        <pc:spChg chg="del">
          <ac:chgData name="Wang, Timothy J." userId="be135309-baa1-4715-99f0-6a1745de2ef7" providerId="ADAL" clId="{65DEB11F-16FD-4533-BA7E-942A0CDF210D}" dt="2024-04-18T08:48:29.328" v="3535" actId="478"/>
          <ac:spMkLst>
            <pc:docMk/>
            <pc:sldMk cId="3923256778" sldId="2147472192"/>
            <ac:spMk id="10" creationId="{9384CC27-C57E-794A-B897-5E8FD8DED895}"/>
          </ac:spMkLst>
        </pc:spChg>
        <pc:spChg chg="add mod">
          <ac:chgData name="Wang, Timothy J." userId="be135309-baa1-4715-99f0-6a1745de2ef7" providerId="ADAL" clId="{65DEB11F-16FD-4533-BA7E-942A0CDF210D}" dt="2024-04-18T08:51:07.271" v="3574" actId="1076"/>
          <ac:spMkLst>
            <pc:docMk/>
            <pc:sldMk cId="3923256778" sldId="2147472192"/>
            <ac:spMk id="11" creationId="{74E88D49-C86F-A7C2-5790-3DE9A571272C}"/>
          </ac:spMkLst>
        </pc:spChg>
        <pc:spChg chg="del">
          <ac:chgData name="Wang, Timothy J." userId="be135309-baa1-4715-99f0-6a1745de2ef7" providerId="ADAL" clId="{65DEB11F-16FD-4533-BA7E-942A0CDF210D}" dt="2024-04-18T08:48:19.813" v="3499" actId="478"/>
          <ac:spMkLst>
            <pc:docMk/>
            <pc:sldMk cId="3923256778" sldId="2147472192"/>
            <ac:spMk id="42" creationId="{607314A8-465E-A866-916E-AB0FFD2EA0F4}"/>
          </ac:spMkLst>
        </pc:spChg>
        <pc:spChg chg="mod">
          <ac:chgData name="Wang, Timothy J." userId="be135309-baa1-4715-99f0-6a1745de2ef7" providerId="ADAL" clId="{65DEB11F-16FD-4533-BA7E-942A0CDF210D}" dt="2024-04-18T08:48:58.637" v="3548" actId="1036"/>
          <ac:spMkLst>
            <pc:docMk/>
            <pc:sldMk cId="3923256778" sldId="2147472192"/>
            <ac:spMk id="43" creationId="{F1DAF5DA-D83C-10BC-4F24-9163C69983B3}"/>
          </ac:spMkLst>
        </pc:spChg>
        <pc:spChg chg="del">
          <ac:chgData name="Wang, Timothy J." userId="be135309-baa1-4715-99f0-6a1745de2ef7" providerId="ADAL" clId="{65DEB11F-16FD-4533-BA7E-942A0CDF210D}" dt="2024-04-18T08:48:29.328" v="3535" actId="478"/>
          <ac:spMkLst>
            <pc:docMk/>
            <pc:sldMk cId="3923256778" sldId="2147472192"/>
            <ac:spMk id="44" creationId="{B2A2BEBC-18BD-4E1A-49BC-D0B7C9E62254}"/>
          </ac:spMkLst>
        </pc:spChg>
        <pc:graphicFrameChg chg="add mod modGraphic">
          <ac:chgData name="Wang, Timothy J." userId="be135309-baa1-4715-99f0-6a1745de2ef7" providerId="ADAL" clId="{65DEB11F-16FD-4533-BA7E-942A0CDF210D}" dt="2024-04-18T08:50:55.979" v="3572" actId="6549"/>
          <ac:graphicFrameMkLst>
            <pc:docMk/>
            <pc:sldMk cId="3923256778" sldId="2147472192"/>
            <ac:graphicFrameMk id="6" creationId="{CF935AD6-6F02-7077-08F3-B28AD22DC630}"/>
          </ac:graphicFrameMkLst>
        </pc:graphicFrameChg>
        <pc:cxnChg chg="mod">
          <ac:chgData name="Wang, Timothy J." userId="be135309-baa1-4715-99f0-6a1745de2ef7" providerId="ADAL" clId="{65DEB11F-16FD-4533-BA7E-942A0CDF210D}" dt="2024-04-18T08:49:03.602" v="3549" actId="14100"/>
          <ac:cxnSpMkLst>
            <pc:docMk/>
            <pc:sldMk cId="3923256778" sldId="2147472192"/>
            <ac:cxnSpMk id="7" creationId="{DA0ECE32-AF59-AB6D-B90D-BB4C0342C4A0}"/>
          </ac:cxnSpMkLst>
        </pc:cxnChg>
        <pc:cxnChg chg="del mod">
          <ac:chgData name="Wang, Timothy J." userId="be135309-baa1-4715-99f0-6a1745de2ef7" providerId="ADAL" clId="{65DEB11F-16FD-4533-BA7E-942A0CDF210D}" dt="2024-04-18T08:48:30.071" v="3536" actId="478"/>
          <ac:cxnSpMkLst>
            <pc:docMk/>
            <pc:sldMk cId="3923256778" sldId="2147472192"/>
            <ac:cxnSpMk id="14" creationId="{E4F8A3E0-7532-FEF5-DFC8-3D11B6A36F31}"/>
          </ac:cxnSpMkLst>
        </pc:cxnChg>
        <pc:cxnChg chg="mod">
          <ac:chgData name="Wang, Timothy J." userId="be135309-baa1-4715-99f0-6a1745de2ef7" providerId="ADAL" clId="{65DEB11F-16FD-4533-BA7E-942A0CDF210D}" dt="2024-04-18T08:48:58.637" v="3548" actId="1036"/>
          <ac:cxnSpMkLst>
            <pc:docMk/>
            <pc:sldMk cId="3923256778" sldId="2147472192"/>
            <ac:cxnSpMk id="21" creationId="{2568D4DE-0ADE-470C-E27C-49089F85A4FB}"/>
          </ac:cxnSpMkLst>
        </pc:cxnChg>
        <pc:cxnChg chg="del mod">
          <ac:chgData name="Wang, Timothy J." userId="be135309-baa1-4715-99f0-6a1745de2ef7" providerId="ADAL" clId="{65DEB11F-16FD-4533-BA7E-942A0CDF210D}" dt="2024-04-18T08:48:18.209" v="3498" actId="478"/>
          <ac:cxnSpMkLst>
            <pc:docMk/>
            <pc:sldMk cId="3923256778" sldId="2147472192"/>
            <ac:cxnSpMk id="30" creationId="{3BF7FF3B-FC86-795A-9B2D-68D905C225E9}"/>
          </ac:cxnSpMkLst>
        </pc:cxnChg>
        <pc:cxnChg chg="del mod">
          <ac:chgData name="Wang, Timothy J." userId="be135309-baa1-4715-99f0-6a1745de2ef7" providerId="ADAL" clId="{65DEB11F-16FD-4533-BA7E-942A0CDF210D}" dt="2024-04-18T08:48:19.813" v="3499" actId="478"/>
          <ac:cxnSpMkLst>
            <pc:docMk/>
            <pc:sldMk cId="3923256778" sldId="2147472192"/>
            <ac:cxnSpMk id="34" creationId="{0CA4E743-E6A6-00CD-9A1D-3B9A01F2E9C3}"/>
          </ac:cxnSpMkLst>
        </pc:cxnChg>
        <pc:cxnChg chg="mod">
          <ac:chgData name="Wang, Timothy J." userId="be135309-baa1-4715-99f0-6a1745de2ef7" providerId="ADAL" clId="{65DEB11F-16FD-4533-BA7E-942A0CDF210D}" dt="2024-04-18T08:48:58.637" v="3548" actId="1036"/>
          <ac:cxnSpMkLst>
            <pc:docMk/>
            <pc:sldMk cId="3923256778" sldId="2147472192"/>
            <ac:cxnSpMk id="38" creationId="{52E362A6-DDD7-F9E3-6D7F-8CB86CB9E2DE}"/>
          </ac:cxnSpMkLst>
        </pc:cxnChg>
        <pc:cxnChg chg="del mod">
          <ac:chgData name="Wang, Timothy J." userId="be135309-baa1-4715-99f0-6a1745de2ef7" providerId="ADAL" clId="{65DEB11F-16FD-4533-BA7E-942A0CDF210D}" dt="2024-04-18T08:48:29.328" v="3535" actId="478"/>
          <ac:cxnSpMkLst>
            <pc:docMk/>
            <pc:sldMk cId="3923256778" sldId="2147472192"/>
            <ac:cxnSpMk id="39" creationId="{F03CAFF7-C0E1-4C51-362B-5C768D7439F0}"/>
          </ac:cxnSpMkLst>
        </pc:cxnChg>
      </pc:sldChg>
      <pc:sldChg chg="addSp delSp modSp add mod modTransition">
        <pc:chgData name="Wang, Timothy J." userId="be135309-baa1-4715-99f0-6a1745de2ef7" providerId="ADAL" clId="{65DEB11F-16FD-4533-BA7E-942A0CDF210D}" dt="2024-04-18T09:38:03.227" v="4432"/>
        <pc:sldMkLst>
          <pc:docMk/>
          <pc:sldMk cId="1827220406" sldId="2147472193"/>
        </pc:sldMkLst>
        <pc:spChg chg="mod">
          <ac:chgData name="Wang, Timothy J." userId="be135309-baa1-4715-99f0-6a1745de2ef7" providerId="ADAL" clId="{65DEB11F-16FD-4533-BA7E-942A0CDF210D}" dt="2024-04-18T08:52:51.112" v="3670" actId="20577"/>
          <ac:spMkLst>
            <pc:docMk/>
            <pc:sldMk cId="1827220406" sldId="2147472193"/>
            <ac:spMk id="2" creationId="{2551F7BA-9075-7F90-8789-DA086290DD2A}"/>
          </ac:spMkLst>
        </pc:spChg>
        <pc:spChg chg="del">
          <ac:chgData name="Wang, Timothy J." userId="be135309-baa1-4715-99f0-6a1745de2ef7" providerId="ADAL" clId="{65DEB11F-16FD-4533-BA7E-942A0CDF210D}" dt="2024-04-18T08:51:40.514" v="3575" actId="478"/>
          <ac:spMkLst>
            <pc:docMk/>
            <pc:sldMk cId="1827220406" sldId="2147472193"/>
            <ac:spMk id="8" creationId="{1F886A15-59C9-3593-213F-7361AD6638B8}"/>
          </ac:spMkLst>
        </pc:spChg>
        <pc:spChg chg="del">
          <ac:chgData name="Wang, Timothy J." userId="be135309-baa1-4715-99f0-6a1745de2ef7" providerId="ADAL" clId="{65DEB11F-16FD-4533-BA7E-942A0CDF210D}" dt="2024-04-18T08:51:40.514" v="3575" actId="478"/>
          <ac:spMkLst>
            <pc:docMk/>
            <pc:sldMk cId="1827220406" sldId="2147472193"/>
            <ac:spMk id="9" creationId="{B9D0F03A-9497-7A86-F679-324FE25773C8}"/>
          </ac:spMkLst>
        </pc:spChg>
        <pc:spChg chg="mod">
          <ac:chgData name="Wang, Timothy J." userId="be135309-baa1-4715-99f0-6a1745de2ef7" providerId="ADAL" clId="{65DEB11F-16FD-4533-BA7E-942A0CDF210D}" dt="2024-04-18T08:52:42.581" v="3662" actId="1076"/>
          <ac:spMkLst>
            <pc:docMk/>
            <pc:sldMk cId="1827220406" sldId="2147472193"/>
            <ac:spMk id="10" creationId="{9384CC27-C57E-794A-B897-5E8FD8DED895}"/>
          </ac:spMkLst>
        </pc:spChg>
        <pc:spChg chg="add mod">
          <ac:chgData name="Wang, Timothy J." userId="be135309-baa1-4715-99f0-6a1745de2ef7" providerId="ADAL" clId="{65DEB11F-16FD-4533-BA7E-942A0CDF210D}" dt="2024-04-18T08:54:45.851" v="3708"/>
          <ac:spMkLst>
            <pc:docMk/>
            <pc:sldMk cId="1827220406" sldId="2147472193"/>
            <ac:spMk id="15" creationId="{EB7F0EFA-7E9B-380C-BF9D-D7C788880E96}"/>
          </ac:spMkLst>
        </pc:spChg>
        <pc:spChg chg="del">
          <ac:chgData name="Wang, Timothy J." userId="be135309-baa1-4715-99f0-6a1745de2ef7" providerId="ADAL" clId="{65DEB11F-16FD-4533-BA7E-942A0CDF210D}" dt="2024-04-18T08:51:40.514" v="3575" actId="478"/>
          <ac:spMkLst>
            <pc:docMk/>
            <pc:sldMk cId="1827220406" sldId="2147472193"/>
            <ac:spMk id="42" creationId="{607314A8-465E-A866-916E-AB0FFD2EA0F4}"/>
          </ac:spMkLst>
        </pc:spChg>
        <pc:spChg chg="del">
          <ac:chgData name="Wang, Timothy J." userId="be135309-baa1-4715-99f0-6a1745de2ef7" providerId="ADAL" clId="{65DEB11F-16FD-4533-BA7E-942A0CDF210D}" dt="2024-04-18T08:51:40.514" v="3575" actId="478"/>
          <ac:spMkLst>
            <pc:docMk/>
            <pc:sldMk cId="1827220406" sldId="2147472193"/>
            <ac:spMk id="43" creationId="{F1DAF5DA-D83C-10BC-4F24-9163C69983B3}"/>
          </ac:spMkLst>
        </pc:spChg>
        <pc:spChg chg="mod">
          <ac:chgData name="Wang, Timothy J." userId="be135309-baa1-4715-99f0-6a1745de2ef7" providerId="ADAL" clId="{65DEB11F-16FD-4533-BA7E-942A0CDF210D}" dt="2024-04-18T08:52:16.056" v="3654" actId="1035"/>
          <ac:spMkLst>
            <pc:docMk/>
            <pc:sldMk cId="1827220406" sldId="2147472193"/>
            <ac:spMk id="44" creationId="{B2A2BEBC-18BD-4E1A-49BC-D0B7C9E62254}"/>
          </ac:spMkLst>
        </pc:spChg>
        <pc:graphicFrameChg chg="add mod modGraphic">
          <ac:chgData name="Wang, Timothy J." userId="be135309-baa1-4715-99f0-6a1745de2ef7" providerId="ADAL" clId="{65DEB11F-16FD-4533-BA7E-942A0CDF210D}" dt="2024-04-18T08:54:40.409" v="3707" actId="20577"/>
          <ac:graphicFrameMkLst>
            <pc:docMk/>
            <pc:sldMk cId="1827220406" sldId="2147472193"/>
            <ac:graphicFrameMk id="13" creationId="{30671752-FAB7-237C-3D27-11E83E7B04F1}"/>
          </ac:graphicFrameMkLst>
        </pc:graphicFrameChg>
        <pc:cxnChg chg="add mod">
          <ac:chgData name="Wang, Timothy J." userId="be135309-baa1-4715-99f0-6a1745de2ef7" providerId="ADAL" clId="{65DEB11F-16FD-4533-BA7E-942A0CDF210D}" dt="2024-04-18T08:52:42.581" v="3662" actId="1076"/>
          <ac:cxnSpMkLst>
            <pc:docMk/>
            <pc:sldMk cId="1827220406" sldId="2147472193"/>
            <ac:cxnSpMk id="4" creationId="{4C87F0F2-320B-E99B-5DB2-D18491522BBB}"/>
          </ac:cxnSpMkLst>
        </pc:cxnChg>
        <pc:cxnChg chg="mod">
          <ac:chgData name="Wang, Timothy J." userId="be135309-baa1-4715-99f0-6a1745de2ef7" providerId="ADAL" clId="{65DEB11F-16FD-4533-BA7E-942A0CDF210D}" dt="2024-04-18T08:52:36.303" v="3660" actId="14100"/>
          <ac:cxnSpMkLst>
            <pc:docMk/>
            <pc:sldMk cId="1827220406" sldId="2147472193"/>
            <ac:cxnSpMk id="7" creationId="{DA0ECE32-AF59-AB6D-B90D-BB4C0342C4A0}"/>
          </ac:cxnSpMkLst>
        </pc:cxnChg>
        <pc:cxnChg chg="del mod">
          <ac:chgData name="Wang, Timothy J." userId="be135309-baa1-4715-99f0-6a1745de2ef7" providerId="ADAL" clId="{65DEB11F-16FD-4533-BA7E-942A0CDF210D}" dt="2024-04-18T08:52:23.385" v="3656" actId="478"/>
          <ac:cxnSpMkLst>
            <pc:docMk/>
            <pc:sldMk cId="1827220406" sldId="2147472193"/>
            <ac:cxnSpMk id="14" creationId="{E4F8A3E0-7532-FEF5-DFC8-3D11B6A36F31}"/>
          </ac:cxnSpMkLst>
        </pc:cxnChg>
        <pc:cxnChg chg="del mod">
          <ac:chgData name="Wang, Timothy J." userId="be135309-baa1-4715-99f0-6a1745de2ef7" providerId="ADAL" clId="{65DEB11F-16FD-4533-BA7E-942A0CDF210D}" dt="2024-04-18T08:51:40.514" v="3575" actId="478"/>
          <ac:cxnSpMkLst>
            <pc:docMk/>
            <pc:sldMk cId="1827220406" sldId="2147472193"/>
            <ac:cxnSpMk id="21" creationId="{2568D4DE-0ADE-470C-E27C-49089F85A4FB}"/>
          </ac:cxnSpMkLst>
        </pc:cxnChg>
        <pc:cxnChg chg="del mod">
          <ac:chgData name="Wang, Timothy J." userId="be135309-baa1-4715-99f0-6a1745de2ef7" providerId="ADAL" clId="{65DEB11F-16FD-4533-BA7E-942A0CDF210D}" dt="2024-04-18T08:51:40.514" v="3575" actId="478"/>
          <ac:cxnSpMkLst>
            <pc:docMk/>
            <pc:sldMk cId="1827220406" sldId="2147472193"/>
            <ac:cxnSpMk id="30" creationId="{3BF7FF3B-FC86-795A-9B2D-68D905C225E9}"/>
          </ac:cxnSpMkLst>
        </pc:cxnChg>
        <pc:cxnChg chg="del mod">
          <ac:chgData name="Wang, Timothy J." userId="be135309-baa1-4715-99f0-6a1745de2ef7" providerId="ADAL" clId="{65DEB11F-16FD-4533-BA7E-942A0CDF210D}" dt="2024-04-18T08:51:40.514" v="3575" actId="478"/>
          <ac:cxnSpMkLst>
            <pc:docMk/>
            <pc:sldMk cId="1827220406" sldId="2147472193"/>
            <ac:cxnSpMk id="34" creationId="{0CA4E743-E6A6-00CD-9A1D-3B9A01F2E9C3}"/>
          </ac:cxnSpMkLst>
        </pc:cxnChg>
        <pc:cxnChg chg="del mod">
          <ac:chgData name="Wang, Timothy J." userId="be135309-baa1-4715-99f0-6a1745de2ef7" providerId="ADAL" clId="{65DEB11F-16FD-4533-BA7E-942A0CDF210D}" dt="2024-04-18T08:51:40.514" v="3575" actId="478"/>
          <ac:cxnSpMkLst>
            <pc:docMk/>
            <pc:sldMk cId="1827220406" sldId="2147472193"/>
            <ac:cxnSpMk id="38" creationId="{52E362A6-DDD7-F9E3-6D7F-8CB86CB9E2DE}"/>
          </ac:cxnSpMkLst>
        </pc:cxnChg>
        <pc:cxnChg chg="mod">
          <ac:chgData name="Wang, Timothy J." userId="be135309-baa1-4715-99f0-6a1745de2ef7" providerId="ADAL" clId="{65DEB11F-16FD-4533-BA7E-942A0CDF210D}" dt="2024-04-18T08:52:42.581" v="3662" actId="1076"/>
          <ac:cxnSpMkLst>
            <pc:docMk/>
            <pc:sldMk cId="1827220406" sldId="2147472193"/>
            <ac:cxnSpMk id="39" creationId="{F03CAFF7-C0E1-4C51-362B-5C768D7439F0}"/>
          </ac:cxnSpMkLst>
        </pc:cxnChg>
      </pc:sldChg>
      <pc:sldChg chg="addSp delSp modSp add mod modTransition">
        <pc:chgData name="Wang, Timothy J." userId="be135309-baa1-4715-99f0-6a1745de2ef7" providerId="ADAL" clId="{65DEB11F-16FD-4533-BA7E-942A0CDF210D}" dt="2024-04-18T09:38:03.227" v="4433"/>
        <pc:sldMkLst>
          <pc:docMk/>
          <pc:sldMk cId="3594102102" sldId="2147472194"/>
        </pc:sldMkLst>
        <pc:spChg chg="mod">
          <ac:chgData name="Wang, Timothy J." userId="be135309-baa1-4715-99f0-6a1745de2ef7" providerId="ADAL" clId="{65DEB11F-16FD-4533-BA7E-942A0CDF210D}" dt="2024-04-18T08:57:25.040" v="3713" actId="20577"/>
          <ac:spMkLst>
            <pc:docMk/>
            <pc:sldMk cId="3594102102" sldId="2147472194"/>
            <ac:spMk id="2" creationId="{2551F7BA-9075-7F90-8789-DA086290DD2A}"/>
          </ac:spMkLst>
        </pc:spChg>
        <pc:spChg chg="del">
          <ac:chgData name="Wang, Timothy J." userId="be135309-baa1-4715-99f0-6a1745de2ef7" providerId="ADAL" clId="{65DEB11F-16FD-4533-BA7E-942A0CDF210D}" dt="2024-04-18T08:58:58.103" v="3727" actId="478"/>
          <ac:spMkLst>
            <pc:docMk/>
            <pc:sldMk cId="3594102102" sldId="2147472194"/>
            <ac:spMk id="5" creationId="{68E4FFD1-7859-BEA4-A2B4-D3657924EA61}"/>
          </ac:spMkLst>
        </pc:spChg>
        <pc:spChg chg="mod">
          <ac:chgData name="Wang, Timothy J." userId="be135309-baa1-4715-99f0-6a1745de2ef7" providerId="ADAL" clId="{65DEB11F-16FD-4533-BA7E-942A0CDF210D}" dt="2024-04-18T08:59:03.545" v="3728" actId="1076"/>
          <ac:spMkLst>
            <pc:docMk/>
            <pc:sldMk cId="3594102102" sldId="2147472194"/>
            <ac:spMk id="10" creationId="{9384CC27-C57E-794A-B897-5E8FD8DED895}"/>
          </ac:spMkLst>
        </pc:spChg>
        <pc:spChg chg="mod ord">
          <ac:chgData name="Wang, Timothy J." userId="be135309-baa1-4715-99f0-6a1745de2ef7" providerId="ADAL" clId="{65DEB11F-16FD-4533-BA7E-942A0CDF210D}" dt="2024-04-18T09:00:33.506" v="3848" actId="1076"/>
          <ac:spMkLst>
            <pc:docMk/>
            <pc:sldMk cId="3594102102" sldId="2147472194"/>
            <ac:spMk id="15" creationId="{EB7F0EFA-7E9B-380C-BF9D-D7C788880E96}"/>
          </ac:spMkLst>
        </pc:spChg>
        <pc:spChg chg="mod">
          <ac:chgData name="Wang, Timothy J." userId="be135309-baa1-4715-99f0-6a1745de2ef7" providerId="ADAL" clId="{65DEB11F-16FD-4533-BA7E-942A0CDF210D}" dt="2024-04-18T08:59:50.657" v="3824"/>
          <ac:spMkLst>
            <pc:docMk/>
            <pc:sldMk cId="3594102102" sldId="2147472194"/>
            <ac:spMk id="44" creationId="{B2A2BEBC-18BD-4E1A-49BC-D0B7C9E62254}"/>
          </ac:spMkLst>
        </pc:spChg>
        <pc:graphicFrameChg chg="add mod modGraphic">
          <ac:chgData name="Wang, Timothy J." userId="be135309-baa1-4715-99f0-6a1745de2ef7" providerId="ADAL" clId="{65DEB11F-16FD-4533-BA7E-942A0CDF210D}" dt="2024-04-18T09:00:25.329" v="3846" actId="20577"/>
          <ac:graphicFrameMkLst>
            <pc:docMk/>
            <pc:sldMk cId="3594102102" sldId="2147472194"/>
            <ac:graphicFrameMk id="3" creationId="{DFF85CA8-7B10-060C-FD47-FDD142610357}"/>
          </ac:graphicFrameMkLst>
        </pc:graphicFrameChg>
        <pc:graphicFrameChg chg="del">
          <ac:chgData name="Wang, Timothy J." userId="be135309-baa1-4715-99f0-6a1745de2ef7" providerId="ADAL" clId="{65DEB11F-16FD-4533-BA7E-942A0CDF210D}" dt="2024-04-18T08:57:08.425" v="3710" actId="478"/>
          <ac:graphicFrameMkLst>
            <pc:docMk/>
            <pc:sldMk cId="3594102102" sldId="2147472194"/>
            <ac:graphicFrameMk id="13" creationId="{30671752-FAB7-237C-3D27-11E83E7B04F1}"/>
          </ac:graphicFrameMkLst>
        </pc:graphicFrameChg>
        <pc:cxnChg chg="del mod">
          <ac:chgData name="Wang, Timothy J." userId="be135309-baa1-4715-99f0-6a1745de2ef7" providerId="ADAL" clId="{65DEB11F-16FD-4533-BA7E-942A0CDF210D}" dt="2024-04-18T08:58:56.961" v="3725" actId="478"/>
          <ac:cxnSpMkLst>
            <pc:docMk/>
            <pc:sldMk cId="3594102102" sldId="2147472194"/>
            <ac:cxnSpMk id="4" creationId="{4C87F0F2-320B-E99B-5DB2-D18491522BBB}"/>
          </ac:cxnSpMkLst>
        </pc:cxnChg>
        <pc:cxnChg chg="del">
          <ac:chgData name="Wang, Timothy J." userId="be135309-baa1-4715-99f0-6a1745de2ef7" providerId="ADAL" clId="{65DEB11F-16FD-4533-BA7E-942A0CDF210D}" dt="2024-04-18T08:58:57.706" v="3726" actId="478"/>
          <ac:cxnSpMkLst>
            <pc:docMk/>
            <pc:sldMk cId="3594102102" sldId="2147472194"/>
            <ac:cxnSpMk id="7" creationId="{DA0ECE32-AF59-AB6D-B90D-BB4C0342C4A0}"/>
          </ac:cxnSpMkLst>
        </pc:cxnChg>
        <pc:cxnChg chg="mod">
          <ac:chgData name="Wang, Timothy J." userId="be135309-baa1-4715-99f0-6a1745de2ef7" providerId="ADAL" clId="{65DEB11F-16FD-4533-BA7E-942A0CDF210D}" dt="2024-04-18T08:59:03.545" v="3728" actId="1076"/>
          <ac:cxnSpMkLst>
            <pc:docMk/>
            <pc:sldMk cId="3594102102" sldId="2147472194"/>
            <ac:cxnSpMk id="39" creationId="{F03CAFF7-C0E1-4C51-362B-5C768D7439F0}"/>
          </ac:cxnSpMkLst>
        </pc:cxnChg>
      </pc:sldChg>
      <pc:sldChg chg="addSp delSp modSp add mod modTransition">
        <pc:chgData name="Wang, Timothy J." userId="be135309-baa1-4715-99f0-6a1745de2ef7" providerId="ADAL" clId="{65DEB11F-16FD-4533-BA7E-942A0CDF210D}" dt="2024-04-18T09:38:03.228" v="4434"/>
        <pc:sldMkLst>
          <pc:docMk/>
          <pc:sldMk cId="1930923818" sldId="2147472195"/>
        </pc:sldMkLst>
        <pc:spChg chg="mod">
          <ac:chgData name="Wang, Timothy J." userId="be135309-baa1-4715-99f0-6a1745de2ef7" providerId="ADAL" clId="{65DEB11F-16FD-4533-BA7E-942A0CDF210D}" dt="2024-04-18T09:01:14.120" v="3852" actId="20577"/>
          <ac:spMkLst>
            <pc:docMk/>
            <pc:sldMk cId="1930923818" sldId="2147472195"/>
            <ac:spMk id="2" creationId="{2551F7BA-9075-7F90-8789-DA086290DD2A}"/>
          </ac:spMkLst>
        </pc:spChg>
        <pc:spChg chg="mod">
          <ac:chgData name="Wang, Timothy J." userId="be135309-baa1-4715-99f0-6a1745de2ef7" providerId="ADAL" clId="{65DEB11F-16FD-4533-BA7E-942A0CDF210D}" dt="2024-04-18T09:04:14.649" v="3870" actId="1076"/>
          <ac:spMkLst>
            <pc:docMk/>
            <pc:sldMk cId="1930923818" sldId="2147472195"/>
            <ac:spMk id="10" creationId="{9384CC27-C57E-794A-B897-5E8FD8DED895}"/>
          </ac:spMkLst>
        </pc:spChg>
        <pc:spChg chg="mod">
          <ac:chgData name="Wang, Timothy J." userId="be135309-baa1-4715-99f0-6a1745de2ef7" providerId="ADAL" clId="{65DEB11F-16FD-4533-BA7E-942A0CDF210D}" dt="2024-04-18T09:04:16.211" v="3871" actId="1076"/>
          <ac:spMkLst>
            <pc:docMk/>
            <pc:sldMk cId="1930923818" sldId="2147472195"/>
            <ac:spMk id="15" creationId="{EB7F0EFA-7E9B-380C-BF9D-D7C788880E96}"/>
          </ac:spMkLst>
        </pc:spChg>
        <pc:spChg chg="add mod">
          <ac:chgData name="Wang, Timothy J." userId="be135309-baa1-4715-99f0-6a1745de2ef7" providerId="ADAL" clId="{65DEB11F-16FD-4533-BA7E-942A0CDF210D}" dt="2024-04-18T09:08:49.392" v="3879" actId="14100"/>
          <ac:spMkLst>
            <pc:docMk/>
            <pc:sldMk cId="1930923818" sldId="2147472195"/>
            <ac:spMk id="16" creationId="{A0E892D1-3992-B32E-00C2-EF27458663DE}"/>
          </ac:spMkLst>
        </pc:spChg>
        <pc:spChg chg="add del">
          <ac:chgData name="Wang, Timothy J." userId="be135309-baa1-4715-99f0-6a1745de2ef7" providerId="ADAL" clId="{65DEB11F-16FD-4533-BA7E-942A0CDF210D}" dt="2024-04-18T09:04:44.520" v="3874"/>
          <ac:spMkLst>
            <pc:docMk/>
            <pc:sldMk cId="1930923818" sldId="2147472195"/>
            <ac:spMk id="17" creationId="{C5374B33-111A-BED0-7C74-29619921030D}"/>
          </ac:spMkLst>
        </pc:spChg>
        <pc:spChg chg="add del">
          <ac:chgData name="Wang, Timothy J." userId="be135309-baa1-4715-99f0-6a1745de2ef7" providerId="ADAL" clId="{65DEB11F-16FD-4533-BA7E-942A0CDF210D}" dt="2024-04-18T09:05:02.344" v="3876"/>
          <ac:spMkLst>
            <pc:docMk/>
            <pc:sldMk cId="1930923818" sldId="2147472195"/>
            <ac:spMk id="18" creationId="{91D85915-501A-BDE8-524E-23DF6E35F3E7}"/>
          </ac:spMkLst>
        </pc:spChg>
        <pc:spChg chg="add mod">
          <ac:chgData name="Wang, Timothy J." userId="be135309-baa1-4715-99f0-6a1745de2ef7" providerId="ADAL" clId="{65DEB11F-16FD-4533-BA7E-942A0CDF210D}" dt="2024-04-18T09:11:33.642" v="3932" actId="14100"/>
          <ac:spMkLst>
            <pc:docMk/>
            <pc:sldMk cId="1930923818" sldId="2147472195"/>
            <ac:spMk id="21" creationId="{93794DE7-2E0D-1928-5849-7533D62F19D2}"/>
          </ac:spMkLst>
        </pc:spChg>
        <pc:spChg chg="add mod">
          <ac:chgData name="Wang, Timothy J." userId="be135309-baa1-4715-99f0-6a1745de2ef7" providerId="ADAL" clId="{65DEB11F-16FD-4533-BA7E-942A0CDF210D}" dt="2024-04-18T09:11:30.691" v="3931" actId="14100"/>
          <ac:spMkLst>
            <pc:docMk/>
            <pc:sldMk cId="1930923818" sldId="2147472195"/>
            <ac:spMk id="22" creationId="{C722A9C2-4BB4-4FC4-0D5C-11339F340986}"/>
          </ac:spMkLst>
        </pc:spChg>
        <pc:spChg chg="add mod">
          <ac:chgData name="Wang, Timothy J." userId="be135309-baa1-4715-99f0-6a1745de2ef7" providerId="ADAL" clId="{65DEB11F-16FD-4533-BA7E-942A0CDF210D}" dt="2024-04-18T09:11:42.010" v="3936" actId="1076"/>
          <ac:spMkLst>
            <pc:docMk/>
            <pc:sldMk cId="1930923818" sldId="2147472195"/>
            <ac:spMk id="23" creationId="{F4D68E18-D96D-AABA-8661-842E6B2BD247}"/>
          </ac:spMkLst>
        </pc:spChg>
        <pc:spChg chg="add mod">
          <ac:chgData name="Wang, Timothy J." userId="be135309-baa1-4715-99f0-6a1745de2ef7" providerId="ADAL" clId="{65DEB11F-16FD-4533-BA7E-942A0CDF210D}" dt="2024-04-18T09:12:51.460" v="3974"/>
          <ac:spMkLst>
            <pc:docMk/>
            <pc:sldMk cId="1930923818" sldId="2147472195"/>
            <ac:spMk id="26" creationId="{5B071F33-DE50-3E0D-5355-8CADAA5F2D7B}"/>
          </ac:spMkLst>
        </pc:spChg>
        <pc:spChg chg="add mod">
          <ac:chgData name="Wang, Timothy J." userId="be135309-baa1-4715-99f0-6a1745de2ef7" providerId="ADAL" clId="{65DEB11F-16FD-4533-BA7E-942A0CDF210D}" dt="2024-04-18T09:15:23.103" v="4080"/>
          <ac:spMkLst>
            <pc:docMk/>
            <pc:sldMk cId="1930923818" sldId="2147472195"/>
            <ac:spMk id="34" creationId="{2F9D91CB-36AC-C248-0DD7-F9DC64BCC212}"/>
          </ac:spMkLst>
        </pc:spChg>
        <pc:spChg chg="add mod">
          <ac:chgData name="Wang, Timothy J." userId="be135309-baa1-4715-99f0-6a1745de2ef7" providerId="ADAL" clId="{65DEB11F-16FD-4533-BA7E-942A0CDF210D}" dt="2024-04-18T09:15:33.221" v="4083"/>
          <ac:spMkLst>
            <pc:docMk/>
            <pc:sldMk cId="1930923818" sldId="2147472195"/>
            <ac:spMk id="35" creationId="{85B4BEF1-F001-C449-7F5F-8554095FD13F}"/>
          </ac:spMkLst>
        </pc:spChg>
        <pc:spChg chg="mod">
          <ac:chgData name="Wang, Timothy J." userId="be135309-baa1-4715-99f0-6a1745de2ef7" providerId="ADAL" clId="{65DEB11F-16FD-4533-BA7E-942A0CDF210D}" dt="2024-04-18T09:14:29.592" v="4070" actId="1076"/>
          <ac:spMkLst>
            <pc:docMk/>
            <pc:sldMk cId="1930923818" sldId="2147472195"/>
            <ac:spMk id="44" creationId="{B2A2BEBC-18BD-4E1A-49BC-D0B7C9E62254}"/>
          </ac:spMkLst>
        </pc:spChg>
        <pc:graphicFrameChg chg="del">
          <ac:chgData name="Wang, Timothy J." userId="be135309-baa1-4715-99f0-6a1745de2ef7" providerId="ADAL" clId="{65DEB11F-16FD-4533-BA7E-942A0CDF210D}" dt="2024-04-18T09:02:07.262" v="3865" actId="478"/>
          <ac:graphicFrameMkLst>
            <pc:docMk/>
            <pc:sldMk cId="1930923818" sldId="2147472195"/>
            <ac:graphicFrameMk id="3" creationId="{DFF85CA8-7B10-060C-FD47-FDD142610357}"/>
          </ac:graphicFrameMkLst>
        </pc:graphicFrameChg>
        <pc:cxnChg chg="add mod">
          <ac:chgData name="Wang, Timothy J." userId="be135309-baa1-4715-99f0-6a1745de2ef7" providerId="ADAL" clId="{65DEB11F-16FD-4533-BA7E-942A0CDF210D}" dt="2024-04-18T09:09:02.970" v="3882" actId="1582"/>
          <ac:cxnSpMkLst>
            <pc:docMk/>
            <pc:sldMk cId="1930923818" sldId="2147472195"/>
            <ac:cxnSpMk id="20" creationId="{582051DC-4944-338F-0782-CB5BF2AD6EAE}"/>
          </ac:cxnSpMkLst>
        </pc:cxnChg>
        <pc:cxnChg chg="add mod">
          <ac:chgData name="Wang, Timothy J." userId="be135309-baa1-4715-99f0-6a1745de2ef7" providerId="ADAL" clId="{65DEB11F-16FD-4533-BA7E-942A0CDF210D}" dt="2024-04-18T09:12:17.270" v="3939" actId="1582"/>
          <ac:cxnSpMkLst>
            <pc:docMk/>
            <pc:sldMk cId="1930923818" sldId="2147472195"/>
            <ac:cxnSpMk id="25" creationId="{649B7062-4A6B-F3A3-47B6-D96CE0B37506}"/>
          </ac:cxnSpMkLst>
        </pc:cxnChg>
        <pc:cxnChg chg="add mod">
          <ac:chgData name="Wang, Timothy J." userId="be135309-baa1-4715-99f0-6a1745de2ef7" providerId="ADAL" clId="{65DEB11F-16FD-4533-BA7E-942A0CDF210D}" dt="2024-04-18T09:13:14.756" v="3979" actId="14100"/>
          <ac:cxnSpMkLst>
            <pc:docMk/>
            <pc:sldMk cId="1930923818" sldId="2147472195"/>
            <ac:cxnSpMk id="28" creationId="{9DD398FE-7001-6AC6-452C-185C62F8A294}"/>
          </ac:cxnSpMkLst>
        </pc:cxnChg>
        <pc:cxnChg chg="add mod">
          <ac:chgData name="Wang, Timothy J." userId="be135309-baa1-4715-99f0-6a1745de2ef7" providerId="ADAL" clId="{65DEB11F-16FD-4533-BA7E-942A0CDF210D}" dt="2024-04-18T09:13:20.045" v="3982" actId="14100"/>
          <ac:cxnSpMkLst>
            <pc:docMk/>
            <pc:sldMk cId="1930923818" sldId="2147472195"/>
            <ac:cxnSpMk id="31" creationId="{2D1522EF-B348-C190-CCF3-054E1F158EF9}"/>
          </ac:cxnSpMkLst>
        </pc:cxnChg>
        <pc:cxnChg chg="add mod">
          <ac:chgData name="Wang, Timothy J." userId="be135309-baa1-4715-99f0-6a1745de2ef7" providerId="ADAL" clId="{65DEB11F-16FD-4533-BA7E-942A0CDF210D}" dt="2024-04-18T09:15:49.680" v="4086" actId="1582"/>
          <ac:cxnSpMkLst>
            <pc:docMk/>
            <pc:sldMk cId="1930923818" sldId="2147472195"/>
            <ac:cxnSpMk id="37" creationId="{8DE3F507-964E-16EE-406B-5F8911C1F6AB}"/>
          </ac:cxnSpMkLst>
        </pc:cxnChg>
        <pc:cxnChg chg="mod">
          <ac:chgData name="Wang, Timothy J." userId="be135309-baa1-4715-99f0-6a1745de2ef7" providerId="ADAL" clId="{65DEB11F-16FD-4533-BA7E-942A0CDF210D}" dt="2024-04-18T09:14:26.156" v="4069" actId="1076"/>
          <ac:cxnSpMkLst>
            <pc:docMk/>
            <pc:sldMk cId="1930923818" sldId="2147472195"/>
            <ac:cxnSpMk id="39" creationId="{F03CAFF7-C0E1-4C51-362B-5C768D7439F0}"/>
          </ac:cxnSpMkLst>
        </pc:cxnChg>
        <pc:cxnChg chg="add mod">
          <ac:chgData name="Wang, Timothy J." userId="be135309-baa1-4715-99f0-6a1745de2ef7" providerId="ADAL" clId="{65DEB11F-16FD-4533-BA7E-942A0CDF210D}" dt="2024-04-18T09:16:01.743" v="4089" actId="1582"/>
          <ac:cxnSpMkLst>
            <pc:docMk/>
            <pc:sldMk cId="1930923818" sldId="2147472195"/>
            <ac:cxnSpMk id="40" creationId="{1528FF8C-5531-B850-327F-095199778C88}"/>
          </ac:cxnSpMkLst>
        </pc:cxnChg>
      </pc:sldChg>
      <pc:sldChg chg="addSp delSp modSp add mod modTransition">
        <pc:chgData name="Wang, Timothy J." userId="be135309-baa1-4715-99f0-6a1745de2ef7" providerId="ADAL" clId="{65DEB11F-16FD-4533-BA7E-942A0CDF210D}" dt="2024-04-18T09:38:03.228" v="4435"/>
        <pc:sldMkLst>
          <pc:docMk/>
          <pc:sldMk cId="1268585247" sldId="2147472196"/>
        </pc:sldMkLst>
        <pc:spChg chg="mod">
          <ac:chgData name="Wang, Timothy J." userId="be135309-baa1-4715-99f0-6a1745de2ef7" providerId="ADAL" clId="{65DEB11F-16FD-4533-BA7E-942A0CDF210D}" dt="2024-04-18T09:16:26.529" v="4093" actId="20577"/>
          <ac:spMkLst>
            <pc:docMk/>
            <pc:sldMk cId="1268585247" sldId="2147472196"/>
            <ac:spMk id="2" creationId="{2551F7BA-9075-7F90-8789-DA086290DD2A}"/>
          </ac:spMkLst>
        </pc:spChg>
        <pc:spChg chg="add mod">
          <ac:chgData name="Wang, Timothy J." userId="be135309-baa1-4715-99f0-6a1745de2ef7" providerId="ADAL" clId="{65DEB11F-16FD-4533-BA7E-942A0CDF210D}" dt="2024-04-18T09:21:11.090" v="4148" actId="207"/>
          <ac:spMkLst>
            <pc:docMk/>
            <pc:sldMk cId="1268585247" sldId="2147472196"/>
            <ac:spMk id="3" creationId="{8B62916D-C166-BD68-F939-1E73F75F3BAD}"/>
          </ac:spMkLst>
        </pc:spChg>
        <pc:spChg chg="add mod">
          <ac:chgData name="Wang, Timothy J." userId="be135309-baa1-4715-99f0-6a1745de2ef7" providerId="ADAL" clId="{65DEB11F-16FD-4533-BA7E-942A0CDF210D}" dt="2024-04-18T09:21:11.090" v="4148" actId="207"/>
          <ac:spMkLst>
            <pc:docMk/>
            <pc:sldMk cId="1268585247" sldId="2147472196"/>
            <ac:spMk id="4" creationId="{09E3DA56-F472-B0CB-61F0-819096037AF3}"/>
          </ac:spMkLst>
        </pc:spChg>
        <pc:spChg chg="add mod">
          <ac:chgData name="Wang, Timothy J." userId="be135309-baa1-4715-99f0-6a1745de2ef7" providerId="ADAL" clId="{65DEB11F-16FD-4533-BA7E-942A0CDF210D}" dt="2024-04-18T09:21:11.090" v="4148" actId="207"/>
          <ac:spMkLst>
            <pc:docMk/>
            <pc:sldMk cId="1268585247" sldId="2147472196"/>
            <ac:spMk id="5" creationId="{DEC05299-AB2A-7F6C-C908-2C89CB059CFC}"/>
          </ac:spMkLst>
        </pc:spChg>
        <pc:spChg chg="add mod">
          <ac:chgData name="Wang, Timothy J." userId="be135309-baa1-4715-99f0-6a1745de2ef7" providerId="ADAL" clId="{65DEB11F-16FD-4533-BA7E-942A0CDF210D}" dt="2024-04-18T09:21:11.090" v="4148" actId="207"/>
          <ac:spMkLst>
            <pc:docMk/>
            <pc:sldMk cId="1268585247" sldId="2147472196"/>
            <ac:spMk id="6" creationId="{9495156A-045B-CE91-7EE0-798F5806C270}"/>
          </ac:spMkLst>
        </pc:spChg>
        <pc:spChg chg="add mod">
          <ac:chgData name="Wang, Timothy J." userId="be135309-baa1-4715-99f0-6a1745de2ef7" providerId="ADAL" clId="{65DEB11F-16FD-4533-BA7E-942A0CDF210D}" dt="2024-04-18T09:21:11.090" v="4148" actId="207"/>
          <ac:spMkLst>
            <pc:docMk/>
            <pc:sldMk cId="1268585247" sldId="2147472196"/>
            <ac:spMk id="7" creationId="{B7F99EF7-1B52-01B8-E864-0A2086D5E4DF}"/>
          </ac:spMkLst>
        </pc:spChg>
        <pc:spChg chg="add mod">
          <ac:chgData name="Wang, Timothy J." userId="be135309-baa1-4715-99f0-6a1745de2ef7" providerId="ADAL" clId="{65DEB11F-16FD-4533-BA7E-942A0CDF210D}" dt="2024-04-18T09:21:11.090" v="4148" actId="207"/>
          <ac:spMkLst>
            <pc:docMk/>
            <pc:sldMk cId="1268585247" sldId="2147472196"/>
            <ac:spMk id="8" creationId="{E9FFDDE9-B412-2C28-59B8-671B7A281E0D}"/>
          </ac:spMkLst>
        </pc:spChg>
        <pc:spChg chg="del">
          <ac:chgData name="Wang, Timothy J." userId="be135309-baa1-4715-99f0-6a1745de2ef7" providerId="ADAL" clId="{65DEB11F-16FD-4533-BA7E-942A0CDF210D}" dt="2024-04-18T09:17:02.394" v="4097" actId="478"/>
          <ac:spMkLst>
            <pc:docMk/>
            <pc:sldMk cId="1268585247" sldId="2147472196"/>
            <ac:spMk id="10" creationId="{9384CC27-C57E-794A-B897-5E8FD8DED895}"/>
          </ac:spMkLst>
        </pc:spChg>
        <pc:spChg chg="mod">
          <ac:chgData name="Wang, Timothy J." userId="be135309-baa1-4715-99f0-6a1745de2ef7" providerId="ADAL" clId="{65DEB11F-16FD-4533-BA7E-942A0CDF210D}" dt="2024-04-18T09:17:11.651" v="4104" actId="1076"/>
          <ac:spMkLst>
            <pc:docMk/>
            <pc:sldMk cId="1268585247" sldId="2147472196"/>
            <ac:spMk id="16" creationId="{A0E892D1-3992-B32E-00C2-EF27458663DE}"/>
          </ac:spMkLst>
        </pc:spChg>
        <pc:spChg chg="mod">
          <ac:chgData name="Wang, Timothy J." userId="be135309-baa1-4715-99f0-6a1745de2ef7" providerId="ADAL" clId="{65DEB11F-16FD-4533-BA7E-942A0CDF210D}" dt="2024-04-18T09:17:59.999" v="4115" actId="14100"/>
          <ac:spMkLst>
            <pc:docMk/>
            <pc:sldMk cId="1268585247" sldId="2147472196"/>
            <ac:spMk id="21" creationId="{93794DE7-2E0D-1928-5849-7533D62F19D2}"/>
          </ac:spMkLst>
        </pc:spChg>
        <pc:spChg chg="mod">
          <ac:chgData name="Wang, Timothy J." userId="be135309-baa1-4715-99f0-6a1745de2ef7" providerId="ADAL" clId="{65DEB11F-16FD-4533-BA7E-942A0CDF210D}" dt="2024-04-18T09:18:16.204" v="4118" actId="1076"/>
          <ac:spMkLst>
            <pc:docMk/>
            <pc:sldMk cId="1268585247" sldId="2147472196"/>
            <ac:spMk id="22" creationId="{C722A9C2-4BB4-4FC4-0D5C-11339F340986}"/>
          </ac:spMkLst>
        </pc:spChg>
        <pc:spChg chg="mod">
          <ac:chgData name="Wang, Timothy J." userId="be135309-baa1-4715-99f0-6a1745de2ef7" providerId="ADAL" clId="{65DEB11F-16FD-4533-BA7E-942A0CDF210D}" dt="2024-04-18T09:18:08.832" v="4117" actId="14100"/>
          <ac:spMkLst>
            <pc:docMk/>
            <pc:sldMk cId="1268585247" sldId="2147472196"/>
            <ac:spMk id="23" creationId="{F4D68E18-D96D-AABA-8661-842E6B2BD247}"/>
          </ac:spMkLst>
        </pc:spChg>
        <pc:spChg chg="del">
          <ac:chgData name="Wang, Timothy J." userId="be135309-baa1-4715-99f0-6a1745de2ef7" providerId="ADAL" clId="{65DEB11F-16FD-4533-BA7E-942A0CDF210D}" dt="2024-04-18T09:17:04.322" v="4099" actId="478"/>
          <ac:spMkLst>
            <pc:docMk/>
            <pc:sldMk cId="1268585247" sldId="2147472196"/>
            <ac:spMk id="26" creationId="{5B071F33-DE50-3E0D-5355-8CADAA5F2D7B}"/>
          </ac:spMkLst>
        </pc:spChg>
        <pc:spChg chg="add mod">
          <ac:chgData name="Wang, Timothy J." userId="be135309-baa1-4715-99f0-6a1745de2ef7" providerId="ADAL" clId="{65DEB11F-16FD-4533-BA7E-942A0CDF210D}" dt="2024-04-18T09:22:22.118" v="4172"/>
          <ac:spMkLst>
            <pc:docMk/>
            <pc:sldMk cId="1268585247" sldId="2147472196"/>
            <ac:spMk id="27" creationId="{8658770D-02BA-A812-2580-5F05552BFDFE}"/>
          </ac:spMkLst>
        </pc:spChg>
        <pc:spChg chg="add mod">
          <ac:chgData name="Wang, Timothy J." userId="be135309-baa1-4715-99f0-6a1745de2ef7" providerId="ADAL" clId="{65DEB11F-16FD-4533-BA7E-942A0CDF210D}" dt="2024-04-18T09:22:29.219" v="4173"/>
          <ac:spMkLst>
            <pc:docMk/>
            <pc:sldMk cId="1268585247" sldId="2147472196"/>
            <ac:spMk id="29" creationId="{97D5B786-4ECB-F6E0-339C-E691289663BF}"/>
          </ac:spMkLst>
        </pc:spChg>
        <pc:spChg chg="add mod">
          <ac:chgData name="Wang, Timothy J." userId="be135309-baa1-4715-99f0-6a1745de2ef7" providerId="ADAL" clId="{65DEB11F-16FD-4533-BA7E-942A0CDF210D}" dt="2024-04-18T09:22:35.847" v="4174"/>
          <ac:spMkLst>
            <pc:docMk/>
            <pc:sldMk cId="1268585247" sldId="2147472196"/>
            <ac:spMk id="30" creationId="{9374F36F-E4A2-C2E5-37C6-D5EF0BD40C6C}"/>
          </ac:spMkLst>
        </pc:spChg>
        <pc:spChg chg="add mod">
          <ac:chgData name="Wang, Timothy J." userId="be135309-baa1-4715-99f0-6a1745de2ef7" providerId="ADAL" clId="{65DEB11F-16FD-4533-BA7E-942A0CDF210D}" dt="2024-04-18T09:22:46.631" v="4177"/>
          <ac:spMkLst>
            <pc:docMk/>
            <pc:sldMk cId="1268585247" sldId="2147472196"/>
            <ac:spMk id="32" creationId="{83F31BB0-B502-89A0-ACA4-7E7521929E69}"/>
          </ac:spMkLst>
        </pc:spChg>
        <pc:spChg chg="del">
          <ac:chgData name="Wang, Timothy J." userId="be135309-baa1-4715-99f0-6a1745de2ef7" providerId="ADAL" clId="{65DEB11F-16FD-4533-BA7E-942A0CDF210D}" dt="2024-04-18T09:17:02.394" v="4097" actId="478"/>
          <ac:spMkLst>
            <pc:docMk/>
            <pc:sldMk cId="1268585247" sldId="2147472196"/>
            <ac:spMk id="34" creationId="{2F9D91CB-36AC-C248-0DD7-F9DC64BCC212}"/>
          </ac:spMkLst>
        </pc:spChg>
        <pc:spChg chg="del">
          <ac:chgData name="Wang, Timothy J." userId="be135309-baa1-4715-99f0-6a1745de2ef7" providerId="ADAL" clId="{65DEB11F-16FD-4533-BA7E-942A0CDF210D}" dt="2024-04-18T09:17:02.394" v="4097" actId="478"/>
          <ac:spMkLst>
            <pc:docMk/>
            <pc:sldMk cId="1268585247" sldId="2147472196"/>
            <ac:spMk id="35" creationId="{85B4BEF1-F001-C449-7F5F-8554095FD13F}"/>
          </ac:spMkLst>
        </pc:spChg>
        <pc:spChg chg="add mod">
          <ac:chgData name="Wang, Timothy J." userId="be135309-baa1-4715-99f0-6a1745de2ef7" providerId="ADAL" clId="{65DEB11F-16FD-4533-BA7E-942A0CDF210D}" dt="2024-04-18T09:23:39.509" v="4185"/>
          <ac:spMkLst>
            <pc:docMk/>
            <pc:sldMk cId="1268585247" sldId="2147472196"/>
            <ac:spMk id="43" creationId="{E05BE606-0ACC-6005-0A0F-738C0FB99449}"/>
          </ac:spMkLst>
        </pc:spChg>
        <pc:spChg chg="del">
          <ac:chgData name="Wang, Timothy J." userId="be135309-baa1-4715-99f0-6a1745de2ef7" providerId="ADAL" clId="{65DEB11F-16FD-4533-BA7E-942A0CDF210D}" dt="2024-04-18T09:17:02.394" v="4097" actId="478"/>
          <ac:spMkLst>
            <pc:docMk/>
            <pc:sldMk cId="1268585247" sldId="2147472196"/>
            <ac:spMk id="44" creationId="{B2A2BEBC-18BD-4E1A-49BC-D0B7C9E62254}"/>
          </ac:spMkLst>
        </pc:spChg>
        <pc:cxnChg chg="add mod">
          <ac:chgData name="Wang, Timothy J." userId="be135309-baa1-4715-99f0-6a1745de2ef7" providerId="ADAL" clId="{65DEB11F-16FD-4533-BA7E-942A0CDF210D}" dt="2024-04-18T09:21:27.388" v="4151" actId="1582"/>
          <ac:cxnSpMkLst>
            <pc:docMk/>
            <pc:sldMk cId="1268585247" sldId="2147472196"/>
            <ac:cxnSpMk id="11" creationId="{8F3456EC-C685-4D66-5D2E-FE82A90EC40D}"/>
          </ac:cxnSpMkLst>
        </pc:cxnChg>
        <pc:cxnChg chg="add mod ord">
          <ac:chgData name="Wang, Timothy J." userId="be135309-baa1-4715-99f0-6a1745de2ef7" providerId="ADAL" clId="{65DEB11F-16FD-4533-BA7E-942A0CDF210D}" dt="2024-04-18T09:21:36.981" v="4155" actId="167"/>
          <ac:cxnSpMkLst>
            <pc:docMk/>
            <pc:sldMk cId="1268585247" sldId="2147472196"/>
            <ac:cxnSpMk id="12" creationId="{9F7FB3EF-6113-E11D-9A8E-C7AB2C38D52E}"/>
          </ac:cxnSpMkLst>
        </pc:cxnChg>
        <pc:cxnChg chg="add mod ord">
          <ac:chgData name="Wang, Timothy J." userId="be135309-baa1-4715-99f0-6a1745de2ef7" providerId="ADAL" clId="{65DEB11F-16FD-4533-BA7E-942A0CDF210D}" dt="2024-04-18T09:21:51.233" v="4169" actId="171"/>
          <ac:cxnSpMkLst>
            <pc:docMk/>
            <pc:sldMk cId="1268585247" sldId="2147472196"/>
            <ac:cxnSpMk id="17" creationId="{D8C415B3-E925-763A-4AAF-CAFDB927FF9D}"/>
          </ac:cxnSpMkLst>
        </pc:cxnChg>
        <pc:cxnChg chg="del mod">
          <ac:chgData name="Wang, Timothy J." userId="be135309-baa1-4715-99f0-6a1745de2ef7" providerId="ADAL" clId="{65DEB11F-16FD-4533-BA7E-942A0CDF210D}" dt="2024-04-18T09:17:03.503" v="4098" actId="478"/>
          <ac:cxnSpMkLst>
            <pc:docMk/>
            <pc:sldMk cId="1268585247" sldId="2147472196"/>
            <ac:cxnSpMk id="20" creationId="{582051DC-4944-338F-0782-CB5BF2AD6EAE}"/>
          </ac:cxnSpMkLst>
        </pc:cxnChg>
        <pc:cxnChg chg="add mod">
          <ac:chgData name="Wang, Timothy J." userId="be135309-baa1-4715-99f0-6a1745de2ef7" providerId="ADAL" clId="{65DEB11F-16FD-4533-BA7E-942A0CDF210D}" dt="2024-04-18T09:22:50.400" v="4178" actId="14100"/>
          <ac:cxnSpMkLst>
            <pc:docMk/>
            <pc:sldMk cId="1268585247" sldId="2147472196"/>
            <ac:cxnSpMk id="24" creationId="{4D28BB4A-0FC0-F8E9-7CB0-4B28A4BDC707}"/>
          </ac:cxnSpMkLst>
        </pc:cxnChg>
        <pc:cxnChg chg="del mod">
          <ac:chgData name="Wang, Timothy J." userId="be135309-baa1-4715-99f0-6a1745de2ef7" providerId="ADAL" clId="{65DEB11F-16FD-4533-BA7E-942A0CDF210D}" dt="2024-04-18T09:17:04.875" v="4100" actId="478"/>
          <ac:cxnSpMkLst>
            <pc:docMk/>
            <pc:sldMk cId="1268585247" sldId="2147472196"/>
            <ac:cxnSpMk id="25" creationId="{649B7062-4A6B-F3A3-47B6-D96CE0B37506}"/>
          </ac:cxnSpMkLst>
        </pc:cxnChg>
        <pc:cxnChg chg="del mod">
          <ac:chgData name="Wang, Timothy J." userId="be135309-baa1-4715-99f0-6a1745de2ef7" providerId="ADAL" clId="{65DEB11F-16FD-4533-BA7E-942A0CDF210D}" dt="2024-04-18T09:17:05.612" v="4101" actId="478"/>
          <ac:cxnSpMkLst>
            <pc:docMk/>
            <pc:sldMk cId="1268585247" sldId="2147472196"/>
            <ac:cxnSpMk id="28" creationId="{9DD398FE-7001-6AC6-452C-185C62F8A294}"/>
          </ac:cxnSpMkLst>
        </pc:cxnChg>
        <pc:cxnChg chg="del mod">
          <ac:chgData name="Wang, Timothy J." userId="be135309-baa1-4715-99f0-6a1745de2ef7" providerId="ADAL" clId="{65DEB11F-16FD-4533-BA7E-942A0CDF210D}" dt="2024-04-18T09:17:06.282" v="4102" actId="478"/>
          <ac:cxnSpMkLst>
            <pc:docMk/>
            <pc:sldMk cId="1268585247" sldId="2147472196"/>
            <ac:cxnSpMk id="31" creationId="{2D1522EF-B348-C190-CCF3-054E1F158EF9}"/>
          </ac:cxnSpMkLst>
        </pc:cxnChg>
        <pc:cxnChg chg="del mod">
          <ac:chgData name="Wang, Timothy J." userId="be135309-baa1-4715-99f0-6a1745de2ef7" providerId="ADAL" clId="{65DEB11F-16FD-4533-BA7E-942A0CDF210D}" dt="2024-04-18T09:17:02.394" v="4097" actId="478"/>
          <ac:cxnSpMkLst>
            <pc:docMk/>
            <pc:sldMk cId="1268585247" sldId="2147472196"/>
            <ac:cxnSpMk id="37" creationId="{8DE3F507-964E-16EE-406B-5F8911C1F6AB}"/>
          </ac:cxnSpMkLst>
        </pc:cxnChg>
        <pc:cxnChg chg="add mod">
          <ac:chgData name="Wang, Timothy J." userId="be135309-baa1-4715-99f0-6a1745de2ef7" providerId="ADAL" clId="{65DEB11F-16FD-4533-BA7E-942A0CDF210D}" dt="2024-04-18T09:23:05.176" v="4181" actId="1582"/>
          <ac:cxnSpMkLst>
            <pc:docMk/>
            <pc:sldMk cId="1268585247" sldId="2147472196"/>
            <ac:cxnSpMk id="38" creationId="{7ABB7A7C-AFD9-D9BB-80DC-CD68C66BD892}"/>
          </ac:cxnSpMkLst>
        </pc:cxnChg>
        <pc:cxnChg chg="del">
          <ac:chgData name="Wang, Timothy J." userId="be135309-baa1-4715-99f0-6a1745de2ef7" providerId="ADAL" clId="{65DEB11F-16FD-4533-BA7E-942A0CDF210D}" dt="2024-04-18T09:17:02.394" v="4097" actId="478"/>
          <ac:cxnSpMkLst>
            <pc:docMk/>
            <pc:sldMk cId="1268585247" sldId="2147472196"/>
            <ac:cxnSpMk id="39" creationId="{F03CAFF7-C0E1-4C51-362B-5C768D7439F0}"/>
          </ac:cxnSpMkLst>
        </pc:cxnChg>
        <pc:cxnChg chg="del mod">
          <ac:chgData name="Wang, Timothy J." userId="be135309-baa1-4715-99f0-6a1745de2ef7" providerId="ADAL" clId="{65DEB11F-16FD-4533-BA7E-942A0CDF210D}" dt="2024-04-18T09:17:02.394" v="4097" actId="478"/>
          <ac:cxnSpMkLst>
            <pc:docMk/>
            <pc:sldMk cId="1268585247" sldId="2147472196"/>
            <ac:cxnSpMk id="40" creationId="{1528FF8C-5531-B850-327F-095199778C88}"/>
          </ac:cxnSpMkLst>
        </pc:cxnChg>
        <pc:cxnChg chg="add mod">
          <ac:chgData name="Wang, Timothy J." userId="be135309-baa1-4715-99f0-6a1745de2ef7" providerId="ADAL" clId="{65DEB11F-16FD-4533-BA7E-942A0CDF210D}" dt="2024-04-18T09:23:15.437" v="4184" actId="1582"/>
          <ac:cxnSpMkLst>
            <pc:docMk/>
            <pc:sldMk cId="1268585247" sldId="2147472196"/>
            <ac:cxnSpMk id="42" creationId="{D798769A-E68E-C1D2-C54D-E4B29043E2E6}"/>
          </ac:cxnSpMkLst>
        </pc:cxnChg>
      </pc:sldChg>
      <pc:sldChg chg="addSp delSp modSp add mod modTransition">
        <pc:chgData name="Wang, Timothy J." userId="be135309-baa1-4715-99f0-6a1745de2ef7" providerId="ADAL" clId="{65DEB11F-16FD-4533-BA7E-942A0CDF210D}" dt="2024-04-18T09:38:03.228" v="4436"/>
        <pc:sldMkLst>
          <pc:docMk/>
          <pc:sldMk cId="1320803574" sldId="2147472197"/>
        </pc:sldMkLst>
        <pc:spChg chg="mod">
          <ac:chgData name="Wang, Timothy J." userId="be135309-baa1-4715-99f0-6a1745de2ef7" providerId="ADAL" clId="{65DEB11F-16FD-4533-BA7E-942A0CDF210D}" dt="2024-04-18T09:23:52.365" v="4189" actId="20577"/>
          <ac:spMkLst>
            <pc:docMk/>
            <pc:sldMk cId="1320803574" sldId="2147472197"/>
            <ac:spMk id="2" creationId="{2551F7BA-9075-7F90-8789-DA086290DD2A}"/>
          </ac:spMkLst>
        </pc:spChg>
        <pc:spChg chg="del">
          <ac:chgData name="Wang, Timothy J." userId="be135309-baa1-4715-99f0-6a1745de2ef7" providerId="ADAL" clId="{65DEB11F-16FD-4533-BA7E-942A0CDF210D}" dt="2024-04-18T09:26:15.077" v="4208" actId="478"/>
          <ac:spMkLst>
            <pc:docMk/>
            <pc:sldMk cId="1320803574" sldId="2147472197"/>
            <ac:spMk id="3" creationId="{8B62916D-C166-BD68-F939-1E73F75F3BAD}"/>
          </ac:spMkLst>
        </pc:spChg>
        <pc:spChg chg="del mod">
          <ac:chgData name="Wang, Timothy J." userId="be135309-baa1-4715-99f0-6a1745de2ef7" providerId="ADAL" clId="{65DEB11F-16FD-4533-BA7E-942A0CDF210D}" dt="2024-04-18T09:26:17.406" v="4211" actId="478"/>
          <ac:spMkLst>
            <pc:docMk/>
            <pc:sldMk cId="1320803574" sldId="2147472197"/>
            <ac:spMk id="4" creationId="{09E3DA56-F472-B0CB-61F0-819096037AF3}"/>
          </ac:spMkLst>
        </pc:spChg>
        <pc:spChg chg="del">
          <ac:chgData name="Wang, Timothy J." userId="be135309-baa1-4715-99f0-6a1745de2ef7" providerId="ADAL" clId="{65DEB11F-16FD-4533-BA7E-942A0CDF210D}" dt="2024-04-18T09:27:15.058" v="4358" actId="478"/>
          <ac:spMkLst>
            <pc:docMk/>
            <pc:sldMk cId="1320803574" sldId="2147472197"/>
            <ac:spMk id="5" creationId="{DEC05299-AB2A-7F6C-C908-2C89CB059CFC}"/>
          </ac:spMkLst>
        </pc:spChg>
        <pc:spChg chg="del">
          <ac:chgData name="Wang, Timothy J." userId="be135309-baa1-4715-99f0-6a1745de2ef7" providerId="ADAL" clId="{65DEB11F-16FD-4533-BA7E-942A0CDF210D}" dt="2024-04-18T09:27:15.058" v="4358" actId="478"/>
          <ac:spMkLst>
            <pc:docMk/>
            <pc:sldMk cId="1320803574" sldId="2147472197"/>
            <ac:spMk id="6" creationId="{9495156A-045B-CE91-7EE0-798F5806C270}"/>
          </ac:spMkLst>
        </pc:spChg>
        <pc:spChg chg="del">
          <ac:chgData name="Wang, Timothy J." userId="be135309-baa1-4715-99f0-6a1745de2ef7" providerId="ADAL" clId="{65DEB11F-16FD-4533-BA7E-942A0CDF210D}" dt="2024-04-18T09:27:15.058" v="4358" actId="478"/>
          <ac:spMkLst>
            <pc:docMk/>
            <pc:sldMk cId="1320803574" sldId="2147472197"/>
            <ac:spMk id="7" creationId="{B7F99EF7-1B52-01B8-E864-0A2086D5E4DF}"/>
          </ac:spMkLst>
        </pc:spChg>
        <pc:spChg chg="del">
          <ac:chgData name="Wang, Timothy J." userId="be135309-baa1-4715-99f0-6a1745de2ef7" providerId="ADAL" clId="{65DEB11F-16FD-4533-BA7E-942A0CDF210D}" dt="2024-04-18T09:27:15.058" v="4358" actId="478"/>
          <ac:spMkLst>
            <pc:docMk/>
            <pc:sldMk cId="1320803574" sldId="2147472197"/>
            <ac:spMk id="8" creationId="{E9FFDDE9-B412-2C28-59B8-671B7A281E0D}"/>
          </ac:spMkLst>
        </pc:spChg>
        <pc:spChg chg="add mod">
          <ac:chgData name="Wang, Timothy J." userId="be135309-baa1-4715-99f0-6a1745de2ef7" providerId="ADAL" clId="{65DEB11F-16FD-4533-BA7E-942A0CDF210D}" dt="2024-04-18T09:29:10.122" v="4420" actId="1037"/>
          <ac:spMkLst>
            <pc:docMk/>
            <pc:sldMk cId="1320803574" sldId="2147472197"/>
            <ac:spMk id="9" creationId="{350854B6-E9C4-7AB2-15A3-1EA3B9387742}"/>
          </ac:spMkLst>
        </pc:spChg>
        <pc:spChg chg="add mod">
          <ac:chgData name="Wang, Timothy J." userId="be135309-baa1-4715-99f0-6a1745de2ef7" providerId="ADAL" clId="{65DEB11F-16FD-4533-BA7E-942A0CDF210D}" dt="2024-04-18T09:29:10.122" v="4420" actId="1037"/>
          <ac:spMkLst>
            <pc:docMk/>
            <pc:sldMk cId="1320803574" sldId="2147472197"/>
            <ac:spMk id="10" creationId="{8364E6ED-03E8-E969-5969-975E406BF444}"/>
          </ac:spMkLst>
        </pc:spChg>
        <pc:spChg chg="del">
          <ac:chgData name="Wang, Timothy J." userId="be135309-baa1-4715-99f0-6a1745de2ef7" providerId="ADAL" clId="{65DEB11F-16FD-4533-BA7E-942A0CDF210D}" dt="2024-04-18T09:27:15.058" v="4358" actId="478"/>
          <ac:spMkLst>
            <pc:docMk/>
            <pc:sldMk cId="1320803574" sldId="2147472197"/>
            <ac:spMk id="15" creationId="{EB7F0EFA-7E9B-380C-BF9D-D7C788880E96}"/>
          </ac:spMkLst>
        </pc:spChg>
        <pc:spChg chg="mod">
          <ac:chgData name="Wang, Timothy J." userId="be135309-baa1-4715-99f0-6a1745de2ef7" providerId="ADAL" clId="{65DEB11F-16FD-4533-BA7E-942A0CDF210D}" dt="2024-04-18T09:29:10.122" v="4420" actId="1037"/>
          <ac:spMkLst>
            <pc:docMk/>
            <pc:sldMk cId="1320803574" sldId="2147472197"/>
            <ac:spMk id="16" creationId="{A0E892D1-3992-B32E-00C2-EF27458663DE}"/>
          </ac:spMkLst>
        </pc:spChg>
        <pc:spChg chg="mod">
          <ac:chgData name="Wang, Timothy J." userId="be135309-baa1-4715-99f0-6a1745de2ef7" providerId="ADAL" clId="{65DEB11F-16FD-4533-BA7E-942A0CDF210D}" dt="2024-04-18T09:29:10.122" v="4420" actId="1037"/>
          <ac:spMkLst>
            <pc:docMk/>
            <pc:sldMk cId="1320803574" sldId="2147472197"/>
            <ac:spMk id="21" creationId="{93794DE7-2E0D-1928-5849-7533D62F19D2}"/>
          </ac:spMkLst>
        </pc:spChg>
        <pc:spChg chg="mod">
          <ac:chgData name="Wang, Timothy J." userId="be135309-baa1-4715-99f0-6a1745de2ef7" providerId="ADAL" clId="{65DEB11F-16FD-4533-BA7E-942A0CDF210D}" dt="2024-04-18T09:29:10.122" v="4420" actId="1037"/>
          <ac:spMkLst>
            <pc:docMk/>
            <pc:sldMk cId="1320803574" sldId="2147472197"/>
            <ac:spMk id="22" creationId="{C722A9C2-4BB4-4FC4-0D5C-11339F340986}"/>
          </ac:spMkLst>
        </pc:spChg>
        <pc:spChg chg="del">
          <ac:chgData name="Wang, Timothy J." userId="be135309-baa1-4715-99f0-6a1745de2ef7" providerId="ADAL" clId="{65DEB11F-16FD-4533-BA7E-942A0CDF210D}" dt="2024-04-18T09:28:21.456" v="4367" actId="478"/>
          <ac:spMkLst>
            <pc:docMk/>
            <pc:sldMk cId="1320803574" sldId="2147472197"/>
            <ac:spMk id="23" creationId="{F4D68E18-D96D-AABA-8661-842E6B2BD247}"/>
          </ac:spMkLst>
        </pc:spChg>
        <pc:spChg chg="del">
          <ac:chgData name="Wang, Timothy J." userId="be135309-baa1-4715-99f0-6a1745de2ef7" providerId="ADAL" clId="{65DEB11F-16FD-4533-BA7E-942A0CDF210D}" dt="2024-04-18T09:27:15.058" v="4358" actId="478"/>
          <ac:spMkLst>
            <pc:docMk/>
            <pc:sldMk cId="1320803574" sldId="2147472197"/>
            <ac:spMk id="27" creationId="{8658770D-02BA-A812-2580-5F05552BFDFE}"/>
          </ac:spMkLst>
        </pc:spChg>
        <pc:spChg chg="del">
          <ac:chgData name="Wang, Timothy J." userId="be135309-baa1-4715-99f0-6a1745de2ef7" providerId="ADAL" clId="{65DEB11F-16FD-4533-BA7E-942A0CDF210D}" dt="2024-04-18T09:27:15.058" v="4358" actId="478"/>
          <ac:spMkLst>
            <pc:docMk/>
            <pc:sldMk cId="1320803574" sldId="2147472197"/>
            <ac:spMk id="29" creationId="{97D5B786-4ECB-F6E0-339C-E691289663BF}"/>
          </ac:spMkLst>
        </pc:spChg>
        <pc:spChg chg="del">
          <ac:chgData name="Wang, Timothy J." userId="be135309-baa1-4715-99f0-6a1745de2ef7" providerId="ADAL" clId="{65DEB11F-16FD-4533-BA7E-942A0CDF210D}" dt="2024-04-18T09:27:15.058" v="4358" actId="478"/>
          <ac:spMkLst>
            <pc:docMk/>
            <pc:sldMk cId="1320803574" sldId="2147472197"/>
            <ac:spMk id="30" creationId="{9374F36F-E4A2-C2E5-37C6-D5EF0BD40C6C}"/>
          </ac:spMkLst>
        </pc:spChg>
        <pc:spChg chg="del">
          <ac:chgData name="Wang, Timothy J." userId="be135309-baa1-4715-99f0-6a1745de2ef7" providerId="ADAL" clId="{65DEB11F-16FD-4533-BA7E-942A0CDF210D}" dt="2024-04-18T09:27:15.058" v="4358" actId="478"/>
          <ac:spMkLst>
            <pc:docMk/>
            <pc:sldMk cId="1320803574" sldId="2147472197"/>
            <ac:spMk id="32" creationId="{83F31BB0-B502-89A0-ACA4-7E7521929E69}"/>
          </ac:spMkLst>
        </pc:spChg>
        <pc:spChg chg="del">
          <ac:chgData name="Wang, Timothy J." userId="be135309-baa1-4715-99f0-6a1745de2ef7" providerId="ADAL" clId="{65DEB11F-16FD-4533-BA7E-942A0CDF210D}" dt="2024-04-18T09:27:15.058" v="4358" actId="478"/>
          <ac:spMkLst>
            <pc:docMk/>
            <pc:sldMk cId="1320803574" sldId="2147472197"/>
            <ac:spMk id="43" creationId="{E05BE606-0ACC-6005-0A0F-738C0FB99449}"/>
          </ac:spMkLst>
        </pc:spChg>
        <pc:cxnChg chg="del mod">
          <ac:chgData name="Wang, Timothy J." userId="be135309-baa1-4715-99f0-6a1745de2ef7" providerId="ADAL" clId="{65DEB11F-16FD-4533-BA7E-942A0CDF210D}" dt="2024-04-18T09:28:40.577" v="4370" actId="478"/>
          <ac:cxnSpMkLst>
            <pc:docMk/>
            <pc:sldMk cId="1320803574" sldId="2147472197"/>
            <ac:cxnSpMk id="11" creationId="{8F3456EC-C685-4D66-5D2E-FE82A90EC40D}"/>
          </ac:cxnSpMkLst>
        </pc:cxnChg>
        <pc:cxnChg chg="del mod">
          <ac:chgData name="Wang, Timothy J." userId="be135309-baa1-4715-99f0-6a1745de2ef7" providerId="ADAL" clId="{65DEB11F-16FD-4533-BA7E-942A0CDF210D}" dt="2024-04-18T09:27:17.172" v="4360" actId="478"/>
          <ac:cxnSpMkLst>
            <pc:docMk/>
            <pc:sldMk cId="1320803574" sldId="2147472197"/>
            <ac:cxnSpMk id="12" creationId="{9F7FB3EF-6113-E11D-9A8E-C7AB2C38D52E}"/>
          </ac:cxnSpMkLst>
        </pc:cxnChg>
        <pc:cxnChg chg="del mod">
          <ac:chgData name="Wang, Timothy J." userId="be135309-baa1-4715-99f0-6a1745de2ef7" providerId="ADAL" clId="{65DEB11F-16FD-4533-BA7E-942A0CDF210D}" dt="2024-04-18T09:26:15.964" v="4209" actId="478"/>
          <ac:cxnSpMkLst>
            <pc:docMk/>
            <pc:sldMk cId="1320803574" sldId="2147472197"/>
            <ac:cxnSpMk id="17" creationId="{D8C415B3-E925-763A-4AAF-CAFDB927FF9D}"/>
          </ac:cxnSpMkLst>
        </pc:cxnChg>
        <pc:cxnChg chg="add mod">
          <ac:chgData name="Wang, Timothy J." userId="be135309-baa1-4715-99f0-6a1745de2ef7" providerId="ADAL" clId="{65DEB11F-16FD-4533-BA7E-942A0CDF210D}" dt="2024-04-18T09:29:10.122" v="4420" actId="1037"/>
          <ac:cxnSpMkLst>
            <pc:docMk/>
            <pc:sldMk cId="1320803574" sldId="2147472197"/>
            <ac:cxnSpMk id="20" creationId="{D427E3A6-79C6-027C-664D-2E80F857742B}"/>
          </ac:cxnSpMkLst>
        </pc:cxnChg>
        <pc:cxnChg chg="del mod">
          <ac:chgData name="Wang, Timothy J." userId="be135309-baa1-4715-99f0-6a1745de2ef7" providerId="ADAL" clId="{65DEB11F-16FD-4533-BA7E-942A0CDF210D}" dt="2024-04-18T09:27:16.468" v="4359" actId="478"/>
          <ac:cxnSpMkLst>
            <pc:docMk/>
            <pc:sldMk cId="1320803574" sldId="2147472197"/>
            <ac:cxnSpMk id="24" creationId="{4D28BB4A-0FC0-F8E9-7CB0-4B28A4BDC707}"/>
          </ac:cxnSpMkLst>
        </pc:cxnChg>
        <pc:cxnChg chg="mod">
          <ac:chgData name="Wang, Timothy J." userId="be135309-baa1-4715-99f0-6a1745de2ef7" providerId="ADAL" clId="{65DEB11F-16FD-4533-BA7E-942A0CDF210D}" dt="2024-04-18T09:29:10.122" v="4420" actId="1037"/>
          <ac:cxnSpMkLst>
            <pc:docMk/>
            <pc:sldMk cId="1320803574" sldId="2147472197"/>
            <ac:cxnSpMk id="38" creationId="{7ABB7A7C-AFD9-D9BB-80DC-CD68C66BD892}"/>
          </ac:cxnSpMkLst>
        </pc:cxnChg>
        <pc:cxnChg chg="del mod">
          <ac:chgData name="Wang, Timothy J." userId="be135309-baa1-4715-99f0-6a1745de2ef7" providerId="ADAL" clId="{65DEB11F-16FD-4533-BA7E-942A0CDF210D}" dt="2024-04-18T09:28:22.230" v="4368" actId="478"/>
          <ac:cxnSpMkLst>
            <pc:docMk/>
            <pc:sldMk cId="1320803574" sldId="2147472197"/>
            <ac:cxnSpMk id="42" creationId="{D798769A-E68E-C1D2-C54D-E4B29043E2E6}"/>
          </ac:cxnSpMkLst>
        </pc:cxnChg>
      </pc:sldChg>
    </pc:docChg>
  </pc:docChgLst>
  <pc:docChgLst>
    <pc:chgData name="Wang, Timothy J." userId="be135309-baa1-4715-99f0-6a1745de2ef7" providerId="ADAL" clId="{62D74B0D-270F-4856-B0C0-56DA4FB3449B}"/>
    <pc:docChg chg="undo custSel addSld modSld sldOrd modSection">
      <pc:chgData name="Wang, Timothy J." userId="be135309-baa1-4715-99f0-6a1745de2ef7" providerId="ADAL" clId="{62D74B0D-270F-4856-B0C0-56DA4FB3449B}" dt="2024-01-02T05:09:06.441" v="1954"/>
      <pc:docMkLst>
        <pc:docMk/>
      </pc:docMkLst>
      <pc:sldChg chg="modSp mod">
        <pc:chgData name="Wang, Timothy J." userId="be135309-baa1-4715-99f0-6a1745de2ef7" providerId="ADAL" clId="{62D74B0D-270F-4856-B0C0-56DA4FB3449B}" dt="2024-01-02T04:51:31.811" v="1372" actId="20577"/>
        <pc:sldMkLst>
          <pc:docMk/>
          <pc:sldMk cId="2130531391" sldId="2147472142"/>
        </pc:sldMkLst>
        <pc:graphicFrameChg chg="modGraphic">
          <ac:chgData name="Wang, Timothy J." userId="be135309-baa1-4715-99f0-6a1745de2ef7" providerId="ADAL" clId="{62D74B0D-270F-4856-B0C0-56DA4FB3449B}" dt="2024-01-02T04:51:31.811" v="1372" actId="20577"/>
          <ac:graphicFrameMkLst>
            <pc:docMk/>
            <pc:sldMk cId="2130531391" sldId="2147472142"/>
            <ac:graphicFrameMk id="4" creationId="{9D372651-0C93-1140-256F-1D1A381D43E7}"/>
          </ac:graphicFrameMkLst>
        </pc:graphicFrameChg>
      </pc:sldChg>
      <pc:sldChg chg="addSp delSp modSp new mod ord modClrScheme chgLayout">
        <pc:chgData name="Wang, Timothy J." userId="be135309-baa1-4715-99f0-6a1745de2ef7" providerId="ADAL" clId="{62D74B0D-270F-4856-B0C0-56DA4FB3449B}" dt="2024-01-02T05:09:06.441" v="1954"/>
        <pc:sldMkLst>
          <pc:docMk/>
          <pc:sldMk cId="640738662" sldId="2147472184"/>
        </pc:sldMkLst>
        <pc:spChg chg="del mod ord">
          <ac:chgData name="Wang, Timothy J." userId="be135309-baa1-4715-99f0-6a1745de2ef7" providerId="ADAL" clId="{62D74B0D-270F-4856-B0C0-56DA4FB3449B}" dt="2024-01-02T04:17:41.728" v="1" actId="700"/>
          <ac:spMkLst>
            <pc:docMk/>
            <pc:sldMk cId="640738662" sldId="2147472184"/>
            <ac:spMk id="2" creationId="{83F2D6DA-F090-6A4C-4B9B-CFAE62CD4A96}"/>
          </ac:spMkLst>
        </pc:spChg>
        <pc:spChg chg="del mod ord">
          <ac:chgData name="Wang, Timothy J." userId="be135309-baa1-4715-99f0-6a1745de2ef7" providerId="ADAL" clId="{62D74B0D-270F-4856-B0C0-56DA4FB3449B}" dt="2024-01-02T04:17:41.728" v="1" actId="700"/>
          <ac:spMkLst>
            <pc:docMk/>
            <pc:sldMk cId="640738662" sldId="2147472184"/>
            <ac:spMk id="3" creationId="{CDF8063E-FA35-9CDA-FDB9-3532440375D1}"/>
          </ac:spMkLst>
        </pc:spChg>
        <pc:spChg chg="add del mod ord">
          <ac:chgData name="Wang, Timothy J." userId="be135309-baa1-4715-99f0-6a1745de2ef7" providerId="ADAL" clId="{62D74B0D-270F-4856-B0C0-56DA4FB3449B}" dt="2024-01-02T04:17:52.821" v="2" actId="478"/>
          <ac:spMkLst>
            <pc:docMk/>
            <pc:sldMk cId="640738662" sldId="2147472184"/>
            <ac:spMk id="4" creationId="{916BCF94-9F4C-DC9C-204A-83A7981B55C2}"/>
          </ac:spMkLst>
        </pc:spChg>
        <pc:spChg chg="add del mod ord">
          <ac:chgData name="Wang, Timothy J." userId="be135309-baa1-4715-99f0-6a1745de2ef7" providerId="ADAL" clId="{62D74B0D-270F-4856-B0C0-56DA4FB3449B}" dt="2024-01-02T04:17:52.821" v="2" actId="478"/>
          <ac:spMkLst>
            <pc:docMk/>
            <pc:sldMk cId="640738662" sldId="2147472184"/>
            <ac:spMk id="5" creationId="{67C05AF1-FAC9-2E02-27D5-EE1DA0F8283C}"/>
          </ac:spMkLst>
        </pc:spChg>
        <pc:spChg chg="add mod">
          <ac:chgData name="Wang, Timothy J." userId="be135309-baa1-4715-99f0-6a1745de2ef7" providerId="ADAL" clId="{62D74B0D-270F-4856-B0C0-56DA4FB3449B}" dt="2024-01-02T05:08:55.332" v="1952"/>
          <ac:spMkLst>
            <pc:docMk/>
            <pc:sldMk cId="640738662" sldId="2147472184"/>
            <ac:spMk id="6" creationId="{FD354C21-0BD7-EDB2-1EAD-611F77472872}"/>
          </ac:spMkLst>
        </pc:spChg>
        <pc:spChg chg="add del mod">
          <ac:chgData name="Wang, Timothy J." userId="be135309-baa1-4715-99f0-6a1745de2ef7" providerId="ADAL" clId="{62D74B0D-270F-4856-B0C0-56DA4FB3449B}" dt="2024-01-02T04:52:17.406" v="1373" actId="478"/>
          <ac:spMkLst>
            <pc:docMk/>
            <pc:sldMk cId="640738662" sldId="2147472184"/>
            <ac:spMk id="7" creationId="{3399DA3B-245C-ECEF-84EE-1AF8C362F72E}"/>
          </ac:spMkLst>
        </pc:spChg>
        <pc:spChg chg="add mod">
          <ac:chgData name="Wang, Timothy J." userId="be135309-baa1-4715-99f0-6a1745de2ef7" providerId="ADAL" clId="{62D74B0D-270F-4856-B0C0-56DA4FB3449B}" dt="2024-01-02T05:06:32.146" v="1894" actId="1076"/>
          <ac:spMkLst>
            <pc:docMk/>
            <pc:sldMk cId="640738662" sldId="2147472184"/>
            <ac:spMk id="8" creationId="{A3CB1B2E-EC65-DE97-26FE-202B8FA9AE12}"/>
          </ac:spMkLst>
        </pc:spChg>
        <pc:spChg chg="add del mod">
          <ac:chgData name="Wang, Timothy J." userId="be135309-baa1-4715-99f0-6a1745de2ef7" providerId="ADAL" clId="{62D74B0D-270F-4856-B0C0-56DA4FB3449B}" dt="2024-01-02T04:58:06.541" v="1738" actId="478"/>
          <ac:spMkLst>
            <pc:docMk/>
            <pc:sldMk cId="640738662" sldId="2147472184"/>
            <ac:spMk id="9" creationId="{F9F5E493-9026-CD3F-99A8-EC02AA8B9876}"/>
          </ac:spMkLst>
        </pc:spChg>
        <pc:spChg chg="add mod">
          <ac:chgData name="Wang, Timothy J." userId="be135309-baa1-4715-99f0-6a1745de2ef7" providerId="ADAL" clId="{62D74B0D-270F-4856-B0C0-56DA4FB3449B}" dt="2024-01-02T05:06:51.488" v="1896" actId="408"/>
          <ac:spMkLst>
            <pc:docMk/>
            <pc:sldMk cId="640738662" sldId="2147472184"/>
            <ac:spMk id="10" creationId="{99BD5DF4-BAC9-2893-7B33-7A0631DB690B}"/>
          </ac:spMkLst>
        </pc:spChg>
        <pc:spChg chg="add del mod">
          <ac:chgData name="Wang, Timothy J." userId="be135309-baa1-4715-99f0-6a1745de2ef7" providerId="ADAL" clId="{62D74B0D-270F-4856-B0C0-56DA4FB3449B}" dt="2024-01-02T05:00:29.586" v="1842" actId="478"/>
          <ac:spMkLst>
            <pc:docMk/>
            <pc:sldMk cId="640738662" sldId="2147472184"/>
            <ac:spMk id="14" creationId="{23031DDF-036D-5129-5BE8-1ED801601C43}"/>
          </ac:spMkLst>
        </pc:spChg>
        <pc:spChg chg="add del mod">
          <ac:chgData name="Wang, Timothy J." userId="be135309-baa1-4715-99f0-6a1745de2ef7" providerId="ADAL" clId="{62D74B0D-270F-4856-B0C0-56DA4FB3449B}" dt="2024-01-02T05:00:29.586" v="1842" actId="478"/>
          <ac:spMkLst>
            <pc:docMk/>
            <pc:sldMk cId="640738662" sldId="2147472184"/>
            <ac:spMk id="15" creationId="{D8A40960-7A31-D4F9-474C-A09CA0DDCBB9}"/>
          </ac:spMkLst>
        </pc:spChg>
        <pc:spChg chg="add mod">
          <ac:chgData name="Wang, Timothy J." userId="be135309-baa1-4715-99f0-6a1745de2ef7" providerId="ADAL" clId="{62D74B0D-270F-4856-B0C0-56DA4FB3449B}" dt="2024-01-02T05:07:03.725" v="1898" actId="552"/>
          <ac:spMkLst>
            <pc:docMk/>
            <pc:sldMk cId="640738662" sldId="2147472184"/>
            <ac:spMk id="16" creationId="{3A2B0A79-96AA-50A8-A30E-CF0E695C860C}"/>
          </ac:spMkLst>
        </pc:spChg>
        <pc:spChg chg="add del mod">
          <ac:chgData name="Wang, Timothy J." userId="be135309-baa1-4715-99f0-6a1745de2ef7" providerId="ADAL" clId="{62D74B0D-270F-4856-B0C0-56DA4FB3449B}" dt="2024-01-02T04:27:02.912" v="453" actId="478"/>
          <ac:spMkLst>
            <pc:docMk/>
            <pc:sldMk cId="640738662" sldId="2147472184"/>
            <ac:spMk id="17" creationId="{530176AE-75FC-726E-6DFE-0717CD62713C}"/>
          </ac:spMkLst>
        </pc:spChg>
        <pc:spChg chg="add del mod">
          <ac:chgData name="Wang, Timothy J." userId="be135309-baa1-4715-99f0-6a1745de2ef7" providerId="ADAL" clId="{62D74B0D-270F-4856-B0C0-56DA4FB3449B}" dt="2024-01-02T04:30:22.333" v="546" actId="478"/>
          <ac:spMkLst>
            <pc:docMk/>
            <pc:sldMk cId="640738662" sldId="2147472184"/>
            <ac:spMk id="18" creationId="{3260B4A5-485E-8A9F-D798-0D8B8EBB2476}"/>
          </ac:spMkLst>
        </pc:spChg>
        <pc:spChg chg="add mod">
          <ac:chgData name="Wang, Timothy J." userId="be135309-baa1-4715-99f0-6a1745de2ef7" providerId="ADAL" clId="{62D74B0D-270F-4856-B0C0-56DA4FB3449B}" dt="2024-01-02T05:05:05.495" v="1877" actId="1076"/>
          <ac:spMkLst>
            <pc:docMk/>
            <pc:sldMk cId="640738662" sldId="2147472184"/>
            <ac:spMk id="19" creationId="{A68EAB6E-37B1-8BB3-F97E-1D504BC3D7D7}"/>
          </ac:spMkLst>
        </pc:spChg>
        <pc:spChg chg="add mod">
          <ac:chgData name="Wang, Timothy J." userId="be135309-baa1-4715-99f0-6a1745de2ef7" providerId="ADAL" clId="{62D74B0D-270F-4856-B0C0-56DA4FB3449B}" dt="2024-01-02T05:07:53.485" v="1912" actId="1076"/>
          <ac:spMkLst>
            <pc:docMk/>
            <pc:sldMk cId="640738662" sldId="2147472184"/>
            <ac:spMk id="23" creationId="{28726BF7-AD7E-A184-FA02-2046EDD2F444}"/>
          </ac:spMkLst>
        </pc:spChg>
        <pc:spChg chg="add mod">
          <ac:chgData name="Wang, Timothy J." userId="be135309-baa1-4715-99f0-6a1745de2ef7" providerId="ADAL" clId="{62D74B0D-270F-4856-B0C0-56DA4FB3449B}" dt="2024-01-02T05:06:51.488" v="1896" actId="408"/>
          <ac:spMkLst>
            <pc:docMk/>
            <pc:sldMk cId="640738662" sldId="2147472184"/>
            <ac:spMk id="40" creationId="{30D473DC-EA0B-FE25-6A59-99376034D4E4}"/>
          </ac:spMkLst>
        </pc:spChg>
        <pc:spChg chg="add del mod">
          <ac:chgData name="Wang, Timothy J." userId="be135309-baa1-4715-99f0-6a1745de2ef7" providerId="ADAL" clId="{62D74B0D-270F-4856-B0C0-56DA4FB3449B}" dt="2024-01-02T05:00:29.586" v="1842" actId="478"/>
          <ac:spMkLst>
            <pc:docMk/>
            <pc:sldMk cId="640738662" sldId="2147472184"/>
            <ac:spMk id="41" creationId="{3A555FD6-D2DF-4757-285B-120D42EC2EC4}"/>
          </ac:spMkLst>
        </pc:spChg>
        <pc:spChg chg="add del mod">
          <ac:chgData name="Wang, Timothy J." userId="be135309-baa1-4715-99f0-6a1745de2ef7" providerId="ADAL" clId="{62D74B0D-270F-4856-B0C0-56DA4FB3449B}" dt="2024-01-02T05:00:29.586" v="1842" actId="478"/>
          <ac:spMkLst>
            <pc:docMk/>
            <pc:sldMk cId="640738662" sldId="2147472184"/>
            <ac:spMk id="42" creationId="{A598E943-B691-D7BD-CEE2-2103D49784F0}"/>
          </ac:spMkLst>
        </pc:spChg>
        <pc:spChg chg="add mod">
          <ac:chgData name="Wang, Timothy J." userId="be135309-baa1-4715-99f0-6a1745de2ef7" providerId="ADAL" clId="{62D74B0D-270F-4856-B0C0-56DA4FB3449B}" dt="2024-01-02T05:06:51.488" v="1896" actId="408"/>
          <ac:spMkLst>
            <pc:docMk/>
            <pc:sldMk cId="640738662" sldId="2147472184"/>
            <ac:spMk id="43" creationId="{A9AE7EC8-C7EE-3561-D748-FD5359F655F9}"/>
          </ac:spMkLst>
        </pc:spChg>
        <pc:spChg chg="add mod">
          <ac:chgData name="Wang, Timothy J." userId="be135309-baa1-4715-99f0-6a1745de2ef7" providerId="ADAL" clId="{62D74B0D-270F-4856-B0C0-56DA4FB3449B}" dt="2024-01-02T04:42:13.183" v="1047" actId="571"/>
          <ac:spMkLst>
            <pc:docMk/>
            <pc:sldMk cId="640738662" sldId="2147472184"/>
            <ac:spMk id="44" creationId="{079DBA51-C698-5301-2091-B30F14C9346B}"/>
          </ac:spMkLst>
        </pc:spChg>
        <pc:spChg chg="add mod">
          <ac:chgData name="Wang, Timothy J." userId="be135309-baa1-4715-99f0-6a1745de2ef7" providerId="ADAL" clId="{62D74B0D-270F-4856-B0C0-56DA4FB3449B}" dt="2024-01-02T04:42:13.183" v="1047" actId="571"/>
          <ac:spMkLst>
            <pc:docMk/>
            <pc:sldMk cId="640738662" sldId="2147472184"/>
            <ac:spMk id="45" creationId="{DF06D479-40D8-E46F-FD18-2A395DFA4CE7}"/>
          </ac:spMkLst>
        </pc:spChg>
        <pc:spChg chg="add mod">
          <ac:chgData name="Wang, Timothy J." userId="be135309-baa1-4715-99f0-6a1745de2ef7" providerId="ADAL" clId="{62D74B0D-270F-4856-B0C0-56DA4FB3449B}" dt="2024-01-02T05:04:20.651" v="1875" actId="113"/>
          <ac:spMkLst>
            <pc:docMk/>
            <pc:sldMk cId="640738662" sldId="2147472184"/>
            <ac:spMk id="46" creationId="{F423CA5D-8C97-9D8F-6696-B2E58AEFF0FA}"/>
          </ac:spMkLst>
        </pc:spChg>
        <pc:spChg chg="add mod">
          <ac:chgData name="Wang, Timothy J." userId="be135309-baa1-4715-99f0-6a1745de2ef7" providerId="ADAL" clId="{62D74B0D-270F-4856-B0C0-56DA4FB3449B}" dt="2024-01-02T05:07:58.861" v="1913" actId="1076"/>
          <ac:spMkLst>
            <pc:docMk/>
            <pc:sldMk cId="640738662" sldId="2147472184"/>
            <ac:spMk id="61" creationId="{40B043CE-C7BD-701D-BD8B-9839971C3538}"/>
          </ac:spMkLst>
        </pc:spChg>
        <pc:spChg chg="add mod ord">
          <ac:chgData name="Wang, Timothy J." userId="be135309-baa1-4715-99f0-6a1745de2ef7" providerId="ADAL" clId="{62D74B0D-270F-4856-B0C0-56DA4FB3449B}" dt="2024-01-02T05:08:05.679" v="1929"/>
          <ac:spMkLst>
            <pc:docMk/>
            <pc:sldMk cId="640738662" sldId="2147472184"/>
            <ac:spMk id="63" creationId="{8F05018E-D42E-4D23-62B5-8B736D0A3C09}"/>
          </ac:spMkLst>
        </pc:spChg>
        <pc:spChg chg="add del mod">
          <ac:chgData name="Wang, Timothy J." userId="be135309-baa1-4715-99f0-6a1745de2ef7" providerId="ADAL" clId="{62D74B0D-270F-4856-B0C0-56DA4FB3449B}" dt="2024-01-02T05:01:53.425" v="1849" actId="478"/>
          <ac:spMkLst>
            <pc:docMk/>
            <pc:sldMk cId="640738662" sldId="2147472184"/>
            <ac:spMk id="69" creationId="{3C588B58-09A0-C6BE-D702-A1F73B73CE44}"/>
          </ac:spMkLst>
        </pc:spChg>
        <pc:spChg chg="add del mod">
          <ac:chgData name="Wang, Timothy J." userId="be135309-baa1-4715-99f0-6a1745de2ef7" providerId="ADAL" clId="{62D74B0D-270F-4856-B0C0-56DA4FB3449B}" dt="2024-01-02T05:00:29.586" v="1842" actId="478"/>
          <ac:spMkLst>
            <pc:docMk/>
            <pc:sldMk cId="640738662" sldId="2147472184"/>
            <ac:spMk id="71" creationId="{E074E5C8-1E75-8E3C-EB62-67D9E59D779A}"/>
          </ac:spMkLst>
        </pc:spChg>
        <pc:spChg chg="add del mod">
          <ac:chgData name="Wang, Timothy J." userId="be135309-baa1-4715-99f0-6a1745de2ef7" providerId="ADAL" clId="{62D74B0D-270F-4856-B0C0-56DA4FB3449B}" dt="2024-01-02T05:01:53.425" v="1849" actId="478"/>
          <ac:spMkLst>
            <pc:docMk/>
            <pc:sldMk cId="640738662" sldId="2147472184"/>
            <ac:spMk id="75" creationId="{84068CAA-39C7-EE77-B175-845A1DF79E18}"/>
          </ac:spMkLst>
        </pc:spChg>
        <pc:spChg chg="add mod">
          <ac:chgData name="Wang, Timothy J." userId="be135309-baa1-4715-99f0-6a1745de2ef7" providerId="ADAL" clId="{62D74B0D-270F-4856-B0C0-56DA4FB3449B}" dt="2024-01-02T05:08:02.580" v="1921"/>
          <ac:spMkLst>
            <pc:docMk/>
            <pc:sldMk cId="640738662" sldId="2147472184"/>
            <ac:spMk id="76" creationId="{D5E8135A-03CB-10A9-751E-A09997477A30}"/>
          </ac:spMkLst>
        </pc:spChg>
        <pc:cxnChg chg="add del mod">
          <ac:chgData name="Wang, Timothy J." userId="be135309-baa1-4715-99f0-6a1745de2ef7" providerId="ADAL" clId="{62D74B0D-270F-4856-B0C0-56DA4FB3449B}" dt="2024-01-02T04:21:28.399" v="313" actId="478"/>
          <ac:cxnSpMkLst>
            <pc:docMk/>
            <pc:sldMk cId="640738662" sldId="2147472184"/>
            <ac:cxnSpMk id="12" creationId="{F90C39DC-163B-8D36-67C0-FAB2231D629E}"/>
          </ac:cxnSpMkLst>
        </pc:cxnChg>
        <pc:cxnChg chg="add mod ord">
          <ac:chgData name="Wang, Timothy J." userId="be135309-baa1-4715-99f0-6a1745de2ef7" providerId="ADAL" clId="{62D74B0D-270F-4856-B0C0-56DA4FB3449B}" dt="2024-01-02T05:07:39.807" v="1910" actId="14100"/>
          <ac:cxnSpMkLst>
            <pc:docMk/>
            <pc:sldMk cId="640738662" sldId="2147472184"/>
            <ac:cxnSpMk id="21" creationId="{30F678D6-3663-FF6D-672D-6E8D6201321D}"/>
          </ac:cxnSpMkLst>
        </pc:cxnChg>
        <pc:cxnChg chg="add mod">
          <ac:chgData name="Wang, Timothy J." userId="be135309-baa1-4715-99f0-6a1745de2ef7" providerId="ADAL" clId="{62D74B0D-270F-4856-B0C0-56DA4FB3449B}" dt="2024-01-02T05:07:03.725" v="1898" actId="552"/>
          <ac:cxnSpMkLst>
            <pc:docMk/>
            <pc:sldMk cId="640738662" sldId="2147472184"/>
            <ac:cxnSpMk id="24" creationId="{D0AF94D9-39D4-52E3-E659-8B7F985CDD5C}"/>
          </ac:cxnSpMkLst>
        </pc:cxnChg>
        <pc:cxnChg chg="add mod">
          <ac:chgData name="Wang, Timothy J." userId="be135309-baa1-4715-99f0-6a1745de2ef7" providerId="ADAL" clId="{62D74B0D-270F-4856-B0C0-56DA4FB3449B}" dt="2024-01-02T05:07:03.725" v="1898" actId="552"/>
          <ac:cxnSpMkLst>
            <pc:docMk/>
            <pc:sldMk cId="640738662" sldId="2147472184"/>
            <ac:cxnSpMk id="30" creationId="{7F09D82C-9805-CC94-C665-E8BE1CB03E8A}"/>
          </ac:cxnSpMkLst>
        </pc:cxnChg>
        <pc:cxnChg chg="add mod">
          <ac:chgData name="Wang, Timothy J." userId="be135309-baa1-4715-99f0-6a1745de2ef7" providerId="ADAL" clId="{62D74B0D-270F-4856-B0C0-56DA4FB3449B}" dt="2024-01-02T05:06:51.488" v="1896" actId="408"/>
          <ac:cxnSpMkLst>
            <pc:docMk/>
            <pc:sldMk cId="640738662" sldId="2147472184"/>
            <ac:cxnSpMk id="37" creationId="{BF2BCFB5-3292-DBCD-25E6-02E4C1AEC142}"/>
          </ac:cxnSpMkLst>
        </pc:cxnChg>
        <pc:cxnChg chg="add del mod">
          <ac:chgData name="Wang, Timothy J." userId="be135309-baa1-4715-99f0-6a1745de2ef7" providerId="ADAL" clId="{62D74B0D-270F-4856-B0C0-56DA4FB3449B}" dt="2024-01-02T04:54:35.239" v="1496" actId="478"/>
          <ac:cxnSpMkLst>
            <pc:docMk/>
            <pc:sldMk cId="640738662" sldId="2147472184"/>
            <ac:cxnSpMk id="49" creationId="{F21E5A6B-37C3-6B52-3E5D-E85093FB9EEE}"/>
          </ac:cxnSpMkLst>
        </pc:cxnChg>
        <pc:cxnChg chg="add del mod">
          <ac:chgData name="Wang, Timothy J." userId="be135309-baa1-4715-99f0-6a1745de2ef7" providerId="ADAL" clId="{62D74B0D-270F-4856-B0C0-56DA4FB3449B}" dt="2024-01-02T04:54:06.444" v="1457" actId="478"/>
          <ac:cxnSpMkLst>
            <pc:docMk/>
            <pc:sldMk cId="640738662" sldId="2147472184"/>
            <ac:cxnSpMk id="51" creationId="{7582C435-5C61-1033-A5B1-5F71EF47ADE6}"/>
          </ac:cxnSpMkLst>
        </pc:cxnChg>
        <pc:cxnChg chg="add del mod">
          <ac:chgData name="Wang, Timothy J." userId="be135309-baa1-4715-99f0-6a1745de2ef7" providerId="ADAL" clId="{62D74B0D-270F-4856-B0C0-56DA4FB3449B}" dt="2024-01-02T04:58:20.030" v="1740" actId="478"/>
          <ac:cxnSpMkLst>
            <pc:docMk/>
            <pc:sldMk cId="640738662" sldId="2147472184"/>
            <ac:cxnSpMk id="53" creationId="{16A5CBE1-12AF-AE32-BE2F-9DF7BD53C3FF}"/>
          </ac:cxnSpMkLst>
        </pc:cxnChg>
        <pc:cxnChg chg="add mod">
          <ac:chgData name="Wang, Timothy J." userId="be135309-baa1-4715-99f0-6a1745de2ef7" providerId="ADAL" clId="{62D74B0D-270F-4856-B0C0-56DA4FB3449B}" dt="2024-01-02T05:07:45.402" v="1911" actId="14100"/>
          <ac:cxnSpMkLst>
            <pc:docMk/>
            <pc:sldMk cId="640738662" sldId="2147472184"/>
            <ac:cxnSpMk id="57" creationId="{3E7E2C6B-9A69-2A49-84DF-E4ED7112B57D}"/>
          </ac:cxnSpMkLst>
        </pc:cxnChg>
        <pc:cxnChg chg="add del mod">
          <ac:chgData name="Wang, Timothy J." userId="be135309-baa1-4715-99f0-6a1745de2ef7" providerId="ADAL" clId="{62D74B0D-270F-4856-B0C0-56DA4FB3449B}" dt="2024-01-02T05:01:50.720" v="1848" actId="478"/>
          <ac:cxnSpMkLst>
            <pc:docMk/>
            <pc:sldMk cId="640738662" sldId="2147472184"/>
            <ac:cxnSpMk id="58" creationId="{BD5FF167-95D8-3030-A772-271DBA9770B8}"/>
          </ac:cxnSpMkLst>
        </pc:cxnChg>
        <pc:cxnChg chg="add del mod">
          <ac:chgData name="Wang, Timothy J." userId="be135309-baa1-4715-99f0-6a1745de2ef7" providerId="ADAL" clId="{62D74B0D-270F-4856-B0C0-56DA4FB3449B}" dt="2024-01-02T04:58:19.247" v="1739" actId="478"/>
          <ac:cxnSpMkLst>
            <pc:docMk/>
            <pc:sldMk cId="640738662" sldId="2147472184"/>
            <ac:cxnSpMk id="59" creationId="{81864105-359C-6513-5076-315FCD5F931A}"/>
          </ac:cxnSpMkLst>
        </pc:cxnChg>
      </pc:sldChg>
    </pc:docChg>
  </pc:docChgLst>
  <pc:docChgLst>
    <pc:chgData name="Wang, Timothy J." userId="be135309-baa1-4715-99f0-6a1745de2ef7" providerId="ADAL" clId="{93DF1F1B-1640-467F-A121-89219391F990}"/>
    <pc:docChg chg="custSel addSld delSld modSld sldOrd modSection">
      <pc:chgData name="Wang, Timothy J." userId="be135309-baa1-4715-99f0-6a1745de2ef7" providerId="ADAL" clId="{93DF1F1B-1640-467F-A121-89219391F990}" dt="2024-02-01T06:31:14.931" v="2323"/>
      <pc:docMkLst>
        <pc:docMk/>
      </pc:docMkLst>
      <pc:sldChg chg="modSp mod modTransition">
        <pc:chgData name="Wang, Timothy J." userId="be135309-baa1-4715-99f0-6a1745de2ef7" providerId="ADAL" clId="{93DF1F1B-1640-467F-A121-89219391F990}" dt="2024-02-01T06:31:14.929" v="2318"/>
        <pc:sldMkLst>
          <pc:docMk/>
          <pc:sldMk cId="0" sldId="256"/>
        </pc:sldMkLst>
        <pc:spChg chg="mod">
          <ac:chgData name="Wang, Timothy J." userId="be135309-baa1-4715-99f0-6a1745de2ef7" providerId="ADAL" clId="{93DF1F1B-1640-467F-A121-89219391F990}" dt="2024-01-29T06:02:00.746" v="2247" actId="1076"/>
          <ac:spMkLst>
            <pc:docMk/>
            <pc:sldMk cId="0" sldId="256"/>
            <ac:spMk id="5" creationId="{4BE0CEFE-062C-4720-884B-5246EE13E0B6}"/>
          </ac:spMkLst>
        </pc:spChg>
        <pc:spChg chg="mod">
          <ac:chgData name="Wang, Timothy J." userId="be135309-baa1-4715-99f0-6a1745de2ef7" providerId="ADAL" clId="{93DF1F1B-1640-467F-A121-89219391F990}" dt="2024-01-29T06:58:14.740" v="2303" actId="20577"/>
          <ac:spMkLst>
            <pc:docMk/>
            <pc:sldMk cId="0" sldId="256"/>
            <ac:spMk id="6" creationId="{B39E2522-4A46-489D-9BD5-FAB747051F64}"/>
          </ac:spMkLst>
        </pc:spChg>
      </pc:sldChg>
      <pc:sldChg chg="addSp delSp modSp add mod setBg">
        <pc:chgData name="Wang, Timothy J." userId="be135309-baa1-4715-99f0-6a1745de2ef7" providerId="ADAL" clId="{93DF1F1B-1640-467F-A121-89219391F990}" dt="2024-01-29T07:30:18.683" v="2311" actId="478"/>
        <pc:sldMkLst>
          <pc:docMk/>
          <pc:sldMk cId="882330771" sldId="479"/>
        </pc:sldMkLst>
        <pc:picChg chg="add del mod">
          <ac:chgData name="Wang, Timothy J." userId="be135309-baa1-4715-99f0-6a1745de2ef7" providerId="ADAL" clId="{93DF1F1B-1640-467F-A121-89219391F990}" dt="2024-01-29T07:30:18.683" v="2311" actId="478"/>
          <ac:picMkLst>
            <pc:docMk/>
            <pc:sldMk cId="882330771" sldId="479"/>
            <ac:picMk id="3" creationId="{BE9B2FF1-8E38-DD4F-6C43-91748F878FD4}"/>
          </ac:picMkLst>
        </pc:picChg>
      </pc:sldChg>
      <pc:sldChg chg="del">
        <pc:chgData name="Wang, Timothy J." userId="be135309-baa1-4715-99f0-6a1745de2ef7" providerId="ADAL" clId="{93DF1F1B-1640-467F-A121-89219391F990}" dt="2024-01-28T16:19:55.767" v="0" actId="47"/>
        <pc:sldMkLst>
          <pc:docMk/>
          <pc:sldMk cId="2130531391" sldId="2147472142"/>
        </pc:sldMkLst>
      </pc:sldChg>
      <pc:sldChg chg="del">
        <pc:chgData name="Wang, Timothy J." userId="be135309-baa1-4715-99f0-6a1745de2ef7" providerId="ADAL" clId="{93DF1F1B-1640-467F-A121-89219391F990}" dt="2024-01-28T16:20:04.383" v="1" actId="47"/>
        <pc:sldMkLst>
          <pc:docMk/>
          <pc:sldMk cId="4149732360" sldId="2147472155"/>
        </pc:sldMkLst>
      </pc:sldChg>
      <pc:sldChg chg="addSp modSp mod modTransition">
        <pc:chgData name="Wang, Timothy J." userId="be135309-baa1-4715-99f0-6a1745de2ef7" providerId="ADAL" clId="{93DF1F1B-1640-467F-A121-89219391F990}" dt="2024-02-01T06:31:14.930" v="2320"/>
        <pc:sldMkLst>
          <pc:docMk/>
          <pc:sldMk cId="1606314092" sldId="2147472160"/>
        </pc:sldMkLst>
        <pc:spChg chg="add mod">
          <ac:chgData name="Wang, Timothy J." userId="be135309-baa1-4715-99f0-6a1745de2ef7" providerId="ADAL" clId="{93DF1F1B-1640-467F-A121-89219391F990}" dt="2024-01-29T05:49:14.342" v="1717" actId="1076"/>
          <ac:spMkLst>
            <pc:docMk/>
            <pc:sldMk cId="1606314092" sldId="2147472160"/>
            <ac:spMk id="5" creationId="{88D5D3A6-1E2F-4F2B-DE29-5FF31487962F}"/>
          </ac:spMkLst>
        </pc:spChg>
        <pc:cxnChg chg="add mod">
          <ac:chgData name="Wang, Timothy J." userId="be135309-baa1-4715-99f0-6a1745de2ef7" providerId="ADAL" clId="{93DF1F1B-1640-467F-A121-89219391F990}" dt="2024-01-29T05:49:14.342" v="1717" actId="1076"/>
          <ac:cxnSpMkLst>
            <pc:docMk/>
            <pc:sldMk cId="1606314092" sldId="2147472160"/>
            <ac:cxnSpMk id="4" creationId="{6393DA22-C5FC-A5F2-383C-B6C3EC8561C3}"/>
          </ac:cxnSpMkLst>
        </pc:cxnChg>
      </pc:sldChg>
      <pc:sldChg chg="addSp modSp mod modTransition">
        <pc:chgData name="Wang, Timothy J." userId="be135309-baa1-4715-99f0-6a1745de2ef7" providerId="ADAL" clId="{93DF1F1B-1640-467F-A121-89219391F990}" dt="2024-02-01T06:31:14.930" v="2319"/>
        <pc:sldMkLst>
          <pc:docMk/>
          <pc:sldMk cId="2458126100" sldId="2147472164"/>
        </pc:sldMkLst>
        <pc:spChg chg="mod">
          <ac:chgData name="Wang, Timothy J." userId="be135309-baa1-4715-99f0-6a1745de2ef7" providerId="ADAL" clId="{93DF1F1B-1640-467F-A121-89219391F990}" dt="2024-01-29T06:55:59.701" v="2296" actId="207"/>
          <ac:spMkLst>
            <pc:docMk/>
            <pc:sldMk cId="2458126100" sldId="2147472164"/>
            <ac:spMk id="6" creationId="{1030DA1E-0553-7EBE-0749-3FAEED834EFD}"/>
          </ac:spMkLst>
        </pc:spChg>
        <pc:spChg chg="add mod">
          <ac:chgData name="Wang, Timothy J." userId="be135309-baa1-4715-99f0-6a1745de2ef7" providerId="ADAL" clId="{93DF1F1B-1640-467F-A121-89219391F990}" dt="2024-01-29T05:49:01.515" v="1715" actId="207"/>
          <ac:spMkLst>
            <pc:docMk/>
            <pc:sldMk cId="2458126100" sldId="2147472164"/>
            <ac:spMk id="8" creationId="{4C2EDA60-988D-44A3-3C69-D381A9BCB0B3}"/>
          </ac:spMkLst>
        </pc:spChg>
        <pc:spChg chg="mod">
          <ac:chgData name="Wang, Timothy J." userId="be135309-baa1-4715-99f0-6a1745de2ef7" providerId="ADAL" clId="{93DF1F1B-1640-467F-A121-89219391F990}" dt="2024-01-29T06:55:59.701" v="2296" actId="207"/>
          <ac:spMkLst>
            <pc:docMk/>
            <pc:sldMk cId="2458126100" sldId="2147472164"/>
            <ac:spMk id="9" creationId="{5D2788F6-ED81-B0BC-89AB-3303FBEE9FBF}"/>
          </ac:spMkLst>
        </pc:spChg>
        <pc:spChg chg="mod">
          <ac:chgData name="Wang, Timothy J." userId="be135309-baa1-4715-99f0-6a1745de2ef7" providerId="ADAL" clId="{93DF1F1B-1640-467F-A121-89219391F990}" dt="2024-01-29T06:56:04.671" v="2297" actId="207"/>
          <ac:spMkLst>
            <pc:docMk/>
            <pc:sldMk cId="2458126100" sldId="2147472164"/>
            <ac:spMk id="10" creationId="{2507C032-B41E-7BF1-8CCB-26173D1B9D9F}"/>
          </ac:spMkLst>
        </pc:spChg>
        <pc:spChg chg="mod">
          <ac:chgData name="Wang, Timothy J." userId="be135309-baa1-4715-99f0-6a1745de2ef7" providerId="ADAL" clId="{93DF1F1B-1640-467F-A121-89219391F990}" dt="2024-01-29T06:55:53.467" v="2295" actId="207"/>
          <ac:spMkLst>
            <pc:docMk/>
            <pc:sldMk cId="2458126100" sldId="2147472164"/>
            <ac:spMk id="11" creationId="{BB0B6E78-8590-10F0-6AA2-2047E85921EB}"/>
          </ac:spMkLst>
        </pc:spChg>
        <pc:spChg chg="mod">
          <ac:chgData name="Wang, Timothy J." userId="be135309-baa1-4715-99f0-6a1745de2ef7" providerId="ADAL" clId="{93DF1F1B-1640-467F-A121-89219391F990}" dt="2024-01-29T06:55:59.701" v="2296" actId="207"/>
          <ac:spMkLst>
            <pc:docMk/>
            <pc:sldMk cId="2458126100" sldId="2147472164"/>
            <ac:spMk id="19" creationId="{106DEE69-BA2A-BD1F-1A84-B1AF4F778A4D}"/>
          </ac:spMkLst>
        </pc:spChg>
        <pc:spChg chg="mod">
          <ac:chgData name="Wang, Timothy J." userId="be135309-baa1-4715-99f0-6a1745de2ef7" providerId="ADAL" clId="{93DF1F1B-1640-467F-A121-89219391F990}" dt="2024-01-29T06:55:59.701" v="2296" actId="207"/>
          <ac:spMkLst>
            <pc:docMk/>
            <pc:sldMk cId="2458126100" sldId="2147472164"/>
            <ac:spMk id="21" creationId="{42A250AD-922F-18A2-2C19-7D6B95A67E72}"/>
          </ac:spMkLst>
        </pc:spChg>
        <pc:cxnChg chg="add mod">
          <ac:chgData name="Wang, Timothy J." userId="be135309-baa1-4715-99f0-6a1745de2ef7" providerId="ADAL" clId="{93DF1F1B-1640-467F-A121-89219391F990}" dt="2024-01-29T05:48:41.639" v="1703" actId="692"/>
          <ac:cxnSpMkLst>
            <pc:docMk/>
            <pc:sldMk cId="2458126100" sldId="2147472164"/>
            <ac:cxnSpMk id="5" creationId="{8660BF2E-5720-B345-D540-498F9875B2D7}"/>
          </ac:cxnSpMkLst>
        </pc:cxnChg>
      </pc:sldChg>
      <pc:sldChg chg="modSp mod">
        <pc:chgData name="Wang, Timothy J." userId="be135309-baa1-4715-99f0-6a1745de2ef7" providerId="ADAL" clId="{93DF1F1B-1640-467F-A121-89219391F990}" dt="2024-01-28T16:39:41.602" v="922" actId="6549"/>
        <pc:sldMkLst>
          <pc:docMk/>
          <pc:sldMk cId="352827835" sldId="2147472169"/>
        </pc:sldMkLst>
        <pc:spChg chg="mod">
          <ac:chgData name="Wang, Timothy J." userId="be135309-baa1-4715-99f0-6a1745de2ef7" providerId="ADAL" clId="{93DF1F1B-1640-467F-A121-89219391F990}" dt="2024-01-28T16:39:41.602" v="922" actId="6549"/>
          <ac:spMkLst>
            <pc:docMk/>
            <pc:sldMk cId="352827835" sldId="2147472169"/>
            <ac:spMk id="10" creationId="{9CD6A8F2-62CB-298B-E755-2E4726DA41A8}"/>
          </ac:spMkLst>
        </pc:spChg>
      </pc:sldChg>
      <pc:sldChg chg="del">
        <pc:chgData name="Wang, Timothy J." userId="be135309-baa1-4715-99f0-6a1745de2ef7" providerId="ADAL" clId="{93DF1F1B-1640-467F-A121-89219391F990}" dt="2024-01-28T17:05:47.843" v="1636" actId="47"/>
        <pc:sldMkLst>
          <pc:docMk/>
          <pc:sldMk cId="3701030537" sldId="2147472170"/>
        </pc:sldMkLst>
      </pc:sldChg>
      <pc:sldChg chg="modSp mod">
        <pc:chgData name="Wang, Timothy J." userId="be135309-baa1-4715-99f0-6a1745de2ef7" providerId="ADAL" clId="{93DF1F1B-1640-467F-A121-89219391F990}" dt="2024-01-28T16:39:20.088" v="913"/>
        <pc:sldMkLst>
          <pc:docMk/>
          <pc:sldMk cId="3494993893" sldId="2147472171"/>
        </pc:sldMkLst>
        <pc:spChg chg="mod">
          <ac:chgData name="Wang, Timothy J." userId="be135309-baa1-4715-99f0-6a1745de2ef7" providerId="ADAL" clId="{93DF1F1B-1640-467F-A121-89219391F990}" dt="2024-01-28T16:39:20.088" v="913"/>
          <ac:spMkLst>
            <pc:docMk/>
            <pc:sldMk cId="3494993893" sldId="2147472171"/>
            <ac:spMk id="5" creationId="{5082B48D-CD84-E2D2-78F1-22D1867BC77B}"/>
          </ac:spMkLst>
        </pc:spChg>
      </pc:sldChg>
      <pc:sldChg chg="addSp delSp modSp mod modTransition">
        <pc:chgData name="Wang, Timothy J." userId="be135309-baa1-4715-99f0-6a1745de2ef7" providerId="ADAL" clId="{93DF1F1B-1640-467F-A121-89219391F990}" dt="2024-02-01T06:31:14.931" v="2321"/>
        <pc:sldMkLst>
          <pc:docMk/>
          <pc:sldMk cId="2287366223" sldId="2147472172"/>
        </pc:sldMkLst>
        <pc:spChg chg="mod">
          <ac:chgData name="Wang, Timothy J." userId="be135309-baa1-4715-99f0-6a1745de2ef7" providerId="ADAL" clId="{93DF1F1B-1640-467F-A121-89219391F990}" dt="2024-01-28T16:41:20.505" v="941"/>
          <ac:spMkLst>
            <pc:docMk/>
            <pc:sldMk cId="2287366223" sldId="2147472172"/>
            <ac:spMk id="2" creationId="{2551F7BA-9075-7F90-8789-DA086290DD2A}"/>
          </ac:spMkLst>
        </pc:spChg>
        <pc:spChg chg="del">
          <ac:chgData name="Wang, Timothy J." userId="be135309-baa1-4715-99f0-6a1745de2ef7" providerId="ADAL" clId="{93DF1F1B-1640-467F-A121-89219391F990}" dt="2024-01-28T16:20:27.848" v="36" actId="478"/>
          <ac:spMkLst>
            <pc:docMk/>
            <pc:sldMk cId="2287366223" sldId="2147472172"/>
            <ac:spMk id="3" creationId="{7CFDD59E-7665-A49C-57C6-4B09B46433C1}"/>
          </ac:spMkLst>
        </pc:spChg>
        <pc:spChg chg="del">
          <ac:chgData name="Wang, Timothy J." userId="be135309-baa1-4715-99f0-6a1745de2ef7" providerId="ADAL" clId="{93DF1F1B-1640-467F-A121-89219391F990}" dt="2024-01-28T16:20:27.848" v="36" actId="478"/>
          <ac:spMkLst>
            <pc:docMk/>
            <pc:sldMk cId="2287366223" sldId="2147472172"/>
            <ac:spMk id="5" creationId="{48AD02B8-DA4A-20E7-381E-C0CB120D4D57}"/>
          </ac:spMkLst>
        </pc:spChg>
        <pc:spChg chg="add del mod">
          <ac:chgData name="Wang, Timothy J." userId="be135309-baa1-4715-99f0-6a1745de2ef7" providerId="ADAL" clId="{93DF1F1B-1640-467F-A121-89219391F990}" dt="2024-01-28T16:26:46.716" v="438" actId="478"/>
          <ac:spMkLst>
            <pc:docMk/>
            <pc:sldMk cId="2287366223" sldId="2147472172"/>
            <ac:spMk id="6" creationId="{7DBFD2FB-AAA1-0663-37F8-EB3E564896FF}"/>
          </ac:spMkLst>
        </pc:spChg>
        <pc:spChg chg="add mod">
          <ac:chgData name="Wang, Timothy J." userId="be135309-baa1-4715-99f0-6a1745de2ef7" providerId="ADAL" clId="{93DF1F1B-1640-467F-A121-89219391F990}" dt="2024-01-28T16:23:24.178" v="196" actId="20577"/>
          <ac:spMkLst>
            <pc:docMk/>
            <pc:sldMk cId="2287366223" sldId="2147472172"/>
            <ac:spMk id="7" creationId="{1FFD815A-AE01-D3ED-39EF-5131E6BF3B75}"/>
          </ac:spMkLst>
        </pc:spChg>
        <pc:spChg chg="add mod">
          <ac:chgData name="Wang, Timothy J." userId="be135309-baa1-4715-99f0-6a1745de2ef7" providerId="ADAL" clId="{93DF1F1B-1640-467F-A121-89219391F990}" dt="2024-01-28T16:23:35.994" v="242"/>
          <ac:spMkLst>
            <pc:docMk/>
            <pc:sldMk cId="2287366223" sldId="2147472172"/>
            <ac:spMk id="8" creationId="{B9A14862-8D26-27FA-EB79-A3DBC64443D4}"/>
          </ac:spMkLst>
        </pc:spChg>
        <pc:spChg chg="add mod">
          <ac:chgData name="Wang, Timothy J." userId="be135309-baa1-4715-99f0-6a1745de2ef7" providerId="ADAL" clId="{93DF1F1B-1640-467F-A121-89219391F990}" dt="2024-01-28T16:24:04.559" v="338"/>
          <ac:spMkLst>
            <pc:docMk/>
            <pc:sldMk cId="2287366223" sldId="2147472172"/>
            <ac:spMk id="9" creationId="{6EE2EE9E-D0C5-DE13-89E4-083B8400D58C}"/>
          </ac:spMkLst>
        </pc:spChg>
        <pc:spChg chg="add mod">
          <ac:chgData name="Wang, Timothy J." userId="be135309-baa1-4715-99f0-6a1745de2ef7" providerId="ADAL" clId="{93DF1F1B-1640-467F-A121-89219391F990}" dt="2024-01-28T16:24:12.633" v="353"/>
          <ac:spMkLst>
            <pc:docMk/>
            <pc:sldMk cId="2287366223" sldId="2147472172"/>
            <ac:spMk id="10" creationId="{06005CA7-05BC-9DF4-B9B6-5A016B10857E}"/>
          </ac:spMkLst>
        </pc:spChg>
        <pc:spChg chg="del">
          <ac:chgData name="Wang, Timothy J." userId="be135309-baa1-4715-99f0-6a1745de2ef7" providerId="ADAL" clId="{93DF1F1B-1640-467F-A121-89219391F990}" dt="2024-01-28T16:20:27.848" v="36" actId="478"/>
          <ac:spMkLst>
            <pc:docMk/>
            <pc:sldMk cId="2287366223" sldId="2147472172"/>
            <ac:spMk id="11" creationId="{630385FB-448D-DE12-D528-1C0E06C0C662}"/>
          </ac:spMkLst>
        </pc:spChg>
        <pc:spChg chg="del">
          <ac:chgData name="Wang, Timothy J." userId="be135309-baa1-4715-99f0-6a1745de2ef7" providerId="ADAL" clId="{93DF1F1B-1640-467F-A121-89219391F990}" dt="2024-01-28T16:20:27.848" v="36" actId="478"/>
          <ac:spMkLst>
            <pc:docMk/>
            <pc:sldMk cId="2287366223" sldId="2147472172"/>
            <ac:spMk id="12" creationId="{A0606B96-A153-6BC2-E596-45E670B36AEF}"/>
          </ac:spMkLst>
        </pc:spChg>
        <pc:spChg chg="del">
          <ac:chgData name="Wang, Timothy J." userId="be135309-baa1-4715-99f0-6a1745de2ef7" providerId="ADAL" clId="{93DF1F1B-1640-467F-A121-89219391F990}" dt="2024-01-28T16:20:27.848" v="36" actId="478"/>
          <ac:spMkLst>
            <pc:docMk/>
            <pc:sldMk cId="2287366223" sldId="2147472172"/>
            <ac:spMk id="13" creationId="{5C0965A3-4820-3A28-1CE6-6F0602382B99}"/>
          </ac:spMkLst>
        </pc:spChg>
        <pc:spChg chg="add mod">
          <ac:chgData name="Wang, Timothy J." userId="be135309-baa1-4715-99f0-6a1745de2ef7" providerId="ADAL" clId="{93DF1F1B-1640-467F-A121-89219391F990}" dt="2024-01-28T16:24:48.640" v="390" actId="20577"/>
          <ac:spMkLst>
            <pc:docMk/>
            <pc:sldMk cId="2287366223" sldId="2147472172"/>
            <ac:spMk id="14" creationId="{80393031-B5BE-3F0D-D5CD-B7C20BC58C27}"/>
          </ac:spMkLst>
        </pc:spChg>
        <pc:spChg chg="add mod">
          <ac:chgData name="Wang, Timothy J." userId="be135309-baa1-4715-99f0-6a1745de2ef7" providerId="ADAL" clId="{93DF1F1B-1640-467F-A121-89219391F990}" dt="2024-01-28T16:24:56.226" v="415"/>
          <ac:spMkLst>
            <pc:docMk/>
            <pc:sldMk cId="2287366223" sldId="2147472172"/>
            <ac:spMk id="16" creationId="{0A3D3338-961C-3761-6DC8-45CB4CB56E48}"/>
          </ac:spMkLst>
        </pc:spChg>
        <pc:spChg chg="add mod">
          <ac:chgData name="Wang, Timothy J." userId="be135309-baa1-4715-99f0-6a1745de2ef7" providerId="ADAL" clId="{93DF1F1B-1640-467F-A121-89219391F990}" dt="2024-01-29T05:50:04.762" v="1771"/>
          <ac:spMkLst>
            <pc:docMk/>
            <pc:sldMk cId="2287366223" sldId="2147472172"/>
            <ac:spMk id="17" creationId="{A5FA5334-6683-940D-74FF-F1F1E086ABBD}"/>
          </ac:spMkLst>
        </pc:spChg>
        <pc:spChg chg="add mod">
          <ac:chgData name="Wang, Timothy J." userId="be135309-baa1-4715-99f0-6a1745de2ef7" providerId="ADAL" clId="{93DF1F1B-1640-467F-A121-89219391F990}" dt="2024-01-28T16:36:03.529" v="826" actId="6549"/>
          <ac:spMkLst>
            <pc:docMk/>
            <pc:sldMk cId="2287366223" sldId="2147472172"/>
            <ac:spMk id="18" creationId="{C756DD31-4B55-AA0E-11FE-8B740C67B2DC}"/>
          </ac:spMkLst>
        </pc:spChg>
        <pc:spChg chg="add mod">
          <ac:chgData name="Wang, Timothy J." userId="be135309-baa1-4715-99f0-6a1745de2ef7" providerId="ADAL" clId="{93DF1F1B-1640-467F-A121-89219391F990}" dt="2024-01-29T06:55:29.199" v="2294" actId="20577"/>
          <ac:spMkLst>
            <pc:docMk/>
            <pc:sldMk cId="2287366223" sldId="2147472172"/>
            <ac:spMk id="19" creationId="{528C299B-2E22-D351-A1E6-F1D4E9DBAB90}"/>
          </ac:spMkLst>
        </pc:spChg>
        <pc:spChg chg="add mod">
          <ac:chgData name="Wang, Timothy J." userId="be135309-baa1-4715-99f0-6a1745de2ef7" providerId="ADAL" clId="{93DF1F1B-1640-467F-A121-89219391F990}" dt="2024-01-29T06:55:14.913" v="2276"/>
          <ac:spMkLst>
            <pc:docMk/>
            <pc:sldMk cId="2287366223" sldId="2147472172"/>
            <ac:spMk id="20" creationId="{5094C6CA-53BD-3FC8-F9E0-0284A7FBDF75}"/>
          </ac:spMkLst>
        </pc:spChg>
        <pc:spChg chg="add mod">
          <ac:chgData name="Wang, Timothy J." userId="be135309-baa1-4715-99f0-6a1745de2ef7" providerId="ADAL" clId="{93DF1F1B-1640-467F-A121-89219391F990}" dt="2024-01-28T16:37:54.741" v="870"/>
          <ac:spMkLst>
            <pc:docMk/>
            <pc:sldMk cId="2287366223" sldId="2147472172"/>
            <ac:spMk id="21" creationId="{E87B03DF-C478-106A-6048-671F94C3B377}"/>
          </ac:spMkLst>
        </pc:spChg>
        <pc:spChg chg="add mod">
          <ac:chgData name="Wang, Timothy J." userId="be135309-baa1-4715-99f0-6a1745de2ef7" providerId="ADAL" clId="{93DF1F1B-1640-467F-A121-89219391F990}" dt="2024-01-28T16:35:38.835" v="825" actId="3064"/>
          <ac:spMkLst>
            <pc:docMk/>
            <pc:sldMk cId="2287366223" sldId="2147472172"/>
            <ac:spMk id="22" creationId="{50ACB90C-C971-F976-757A-63783C7DA843}"/>
          </ac:spMkLst>
        </pc:spChg>
        <pc:spChg chg="del">
          <ac:chgData name="Wang, Timothy J." userId="be135309-baa1-4715-99f0-6a1745de2ef7" providerId="ADAL" clId="{93DF1F1B-1640-467F-A121-89219391F990}" dt="2024-01-28T16:20:27.848" v="36" actId="478"/>
          <ac:spMkLst>
            <pc:docMk/>
            <pc:sldMk cId="2287366223" sldId="2147472172"/>
            <ac:spMk id="53" creationId="{E78DACCC-E27B-BB7D-5F01-13C14D0697A3}"/>
          </ac:spMkLst>
        </pc:spChg>
        <pc:spChg chg="del">
          <ac:chgData name="Wang, Timothy J." userId="be135309-baa1-4715-99f0-6a1745de2ef7" providerId="ADAL" clId="{93DF1F1B-1640-467F-A121-89219391F990}" dt="2024-01-28T16:20:27.848" v="36" actId="478"/>
          <ac:spMkLst>
            <pc:docMk/>
            <pc:sldMk cId="2287366223" sldId="2147472172"/>
            <ac:spMk id="54" creationId="{077D856B-DCA4-1E33-57D7-9563089B2AC1}"/>
          </ac:spMkLst>
        </pc:spChg>
        <pc:spChg chg="del">
          <ac:chgData name="Wang, Timothy J." userId="be135309-baa1-4715-99f0-6a1745de2ef7" providerId="ADAL" clId="{93DF1F1B-1640-467F-A121-89219391F990}" dt="2024-01-28T16:20:27.848" v="36" actId="478"/>
          <ac:spMkLst>
            <pc:docMk/>
            <pc:sldMk cId="2287366223" sldId="2147472172"/>
            <ac:spMk id="55" creationId="{E13161FA-D3C0-EC5F-B3F0-09897104E82E}"/>
          </ac:spMkLst>
        </pc:spChg>
        <pc:spChg chg="del">
          <ac:chgData name="Wang, Timothy J." userId="be135309-baa1-4715-99f0-6a1745de2ef7" providerId="ADAL" clId="{93DF1F1B-1640-467F-A121-89219391F990}" dt="2024-01-28T16:20:27.848" v="36" actId="478"/>
          <ac:spMkLst>
            <pc:docMk/>
            <pc:sldMk cId="2287366223" sldId="2147472172"/>
            <ac:spMk id="56" creationId="{37D70530-375F-A2DF-D276-E07ABF4A927C}"/>
          </ac:spMkLst>
        </pc:spChg>
        <pc:grpChg chg="del">
          <ac:chgData name="Wang, Timothy J." userId="be135309-baa1-4715-99f0-6a1745de2ef7" providerId="ADAL" clId="{93DF1F1B-1640-467F-A121-89219391F990}" dt="2024-01-28T16:20:27.848" v="36" actId="478"/>
          <ac:grpSpMkLst>
            <pc:docMk/>
            <pc:sldMk cId="2287366223" sldId="2147472172"/>
            <ac:grpSpMk id="42" creationId="{DCDEF579-71E8-692D-B007-096E8F4F05E6}"/>
          </ac:grpSpMkLst>
        </pc:grpChg>
        <pc:grpChg chg="del">
          <ac:chgData name="Wang, Timothy J." userId="be135309-baa1-4715-99f0-6a1745de2ef7" providerId="ADAL" clId="{93DF1F1B-1640-467F-A121-89219391F990}" dt="2024-01-28T16:20:27.848" v="36" actId="478"/>
          <ac:grpSpMkLst>
            <pc:docMk/>
            <pc:sldMk cId="2287366223" sldId="2147472172"/>
            <ac:grpSpMk id="43" creationId="{AF79080D-9D15-58CE-E02F-B53D30C7263A}"/>
          </ac:grpSpMkLst>
        </pc:grpChg>
        <pc:grpChg chg="del">
          <ac:chgData name="Wang, Timothy J." userId="be135309-baa1-4715-99f0-6a1745de2ef7" providerId="ADAL" clId="{93DF1F1B-1640-467F-A121-89219391F990}" dt="2024-01-28T16:20:27.848" v="36" actId="478"/>
          <ac:grpSpMkLst>
            <pc:docMk/>
            <pc:sldMk cId="2287366223" sldId="2147472172"/>
            <ac:grpSpMk id="46" creationId="{D84B346A-B2E8-041E-24EA-668402A10CD4}"/>
          </ac:grpSpMkLst>
        </pc:grpChg>
        <pc:grpChg chg="del">
          <ac:chgData name="Wang, Timothy J." userId="be135309-baa1-4715-99f0-6a1745de2ef7" providerId="ADAL" clId="{93DF1F1B-1640-467F-A121-89219391F990}" dt="2024-01-28T16:20:27.848" v="36" actId="478"/>
          <ac:grpSpMkLst>
            <pc:docMk/>
            <pc:sldMk cId="2287366223" sldId="2147472172"/>
            <ac:grpSpMk id="49" creationId="{F60B4413-2C9D-F700-0A7B-3F3AE59BE852}"/>
          </ac:grpSpMkLst>
        </pc:grpChg>
        <pc:grpChg chg="del">
          <ac:chgData name="Wang, Timothy J." userId="be135309-baa1-4715-99f0-6a1745de2ef7" providerId="ADAL" clId="{93DF1F1B-1640-467F-A121-89219391F990}" dt="2024-01-28T16:20:27.848" v="36" actId="478"/>
          <ac:grpSpMkLst>
            <pc:docMk/>
            <pc:sldMk cId="2287366223" sldId="2147472172"/>
            <ac:grpSpMk id="50" creationId="{AA337FAA-51C8-1065-AE52-49B2A7B31F30}"/>
          </ac:grpSpMkLst>
        </pc:grpChg>
        <pc:grpChg chg="del">
          <ac:chgData name="Wang, Timothy J." userId="be135309-baa1-4715-99f0-6a1745de2ef7" providerId="ADAL" clId="{93DF1F1B-1640-467F-A121-89219391F990}" dt="2024-01-28T16:20:27.848" v="36" actId="478"/>
          <ac:grpSpMkLst>
            <pc:docMk/>
            <pc:sldMk cId="2287366223" sldId="2147472172"/>
            <ac:grpSpMk id="51" creationId="{1686AC11-7468-0B78-0E70-9E733476D701}"/>
          </ac:grpSpMkLst>
        </pc:grpChg>
        <pc:grpChg chg="del">
          <ac:chgData name="Wang, Timothy J." userId="be135309-baa1-4715-99f0-6a1745de2ef7" providerId="ADAL" clId="{93DF1F1B-1640-467F-A121-89219391F990}" dt="2024-01-28T16:20:27.848" v="36" actId="478"/>
          <ac:grpSpMkLst>
            <pc:docMk/>
            <pc:sldMk cId="2287366223" sldId="2147472172"/>
            <ac:grpSpMk id="52" creationId="{73A8B96F-BD93-0CA8-8F29-B27BBAC0ACC9}"/>
          </ac:grpSpMkLst>
        </pc:grpChg>
        <pc:cxnChg chg="del">
          <ac:chgData name="Wang, Timothy J." userId="be135309-baa1-4715-99f0-6a1745de2ef7" providerId="ADAL" clId="{93DF1F1B-1640-467F-A121-89219391F990}" dt="2024-01-28T16:20:27.848" v="36" actId="478"/>
          <ac:cxnSpMkLst>
            <pc:docMk/>
            <pc:sldMk cId="2287366223" sldId="2147472172"/>
            <ac:cxnSpMk id="15" creationId="{8552F9E4-AF4A-81E0-F685-CD6673BF4523}"/>
          </ac:cxnSpMkLst>
        </pc:cxnChg>
        <pc:cxnChg chg="add mod">
          <ac:chgData name="Wang, Timothy J." userId="be135309-baa1-4715-99f0-6a1745de2ef7" providerId="ADAL" clId="{93DF1F1B-1640-467F-A121-89219391F990}" dt="2024-01-28T16:28:46.352" v="508" actId="692"/>
          <ac:cxnSpMkLst>
            <pc:docMk/>
            <pc:sldMk cId="2287366223" sldId="2147472172"/>
            <ac:cxnSpMk id="26" creationId="{66B44956-2B94-DCD8-9266-6031B8994432}"/>
          </ac:cxnSpMkLst>
        </pc:cxnChg>
      </pc:sldChg>
      <pc:sldChg chg="del">
        <pc:chgData name="Wang, Timothy J." userId="be135309-baa1-4715-99f0-6a1745de2ef7" providerId="ADAL" clId="{93DF1F1B-1640-467F-A121-89219391F990}" dt="2024-01-28T17:05:39.869" v="1635" actId="47"/>
        <pc:sldMkLst>
          <pc:docMk/>
          <pc:sldMk cId="1684978749" sldId="2147472173"/>
        </pc:sldMkLst>
      </pc:sldChg>
      <pc:sldChg chg="del">
        <pc:chgData name="Wang, Timothy J." userId="be135309-baa1-4715-99f0-6a1745de2ef7" providerId="ADAL" clId="{93DF1F1B-1640-467F-A121-89219391F990}" dt="2024-01-28T17:05:47.843" v="1636" actId="47"/>
        <pc:sldMkLst>
          <pc:docMk/>
          <pc:sldMk cId="3997180544" sldId="2147472177"/>
        </pc:sldMkLst>
      </pc:sldChg>
      <pc:sldChg chg="del">
        <pc:chgData name="Wang, Timothy J." userId="be135309-baa1-4715-99f0-6a1745de2ef7" providerId="ADAL" clId="{93DF1F1B-1640-467F-A121-89219391F990}" dt="2024-01-28T17:05:47.843" v="1636" actId="47"/>
        <pc:sldMkLst>
          <pc:docMk/>
          <pc:sldMk cId="4293032827" sldId="2147472178"/>
        </pc:sldMkLst>
      </pc:sldChg>
      <pc:sldChg chg="modSp del mod ord">
        <pc:chgData name="Wang, Timothy J." userId="be135309-baa1-4715-99f0-6a1745de2ef7" providerId="ADAL" clId="{93DF1F1B-1640-467F-A121-89219391F990}" dt="2024-01-28T17:06:23.447" v="1690" actId="47"/>
        <pc:sldMkLst>
          <pc:docMk/>
          <pc:sldMk cId="569155294" sldId="2147472179"/>
        </pc:sldMkLst>
        <pc:spChg chg="mod">
          <ac:chgData name="Wang, Timothy J." userId="be135309-baa1-4715-99f0-6a1745de2ef7" providerId="ADAL" clId="{93DF1F1B-1640-467F-A121-89219391F990}" dt="2024-01-28T17:06:05.043" v="1673" actId="6549"/>
          <ac:spMkLst>
            <pc:docMk/>
            <pc:sldMk cId="569155294" sldId="2147472179"/>
            <ac:spMk id="4" creationId="{71D101B9-06AE-B319-DAFE-C3DACF89C7EF}"/>
          </ac:spMkLst>
        </pc:spChg>
        <pc:spChg chg="mod">
          <ac:chgData name="Wang, Timothy J." userId="be135309-baa1-4715-99f0-6a1745de2ef7" providerId="ADAL" clId="{93DF1F1B-1640-467F-A121-89219391F990}" dt="2024-01-28T17:06:13.362" v="1689"/>
          <ac:spMkLst>
            <pc:docMk/>
            <pc:sldMk cId="569155294" sldId="2147472179"/>
            <ac:spMk id="5" creationId="{DF4CE4CF-396F-35FF-2E2B-1A3E9E80CA4C}"/>
          </ac:spMkLst>
        </pc:spChg>
      </pc:sldChg>
      <pc:sldChg chg="del">
        <pc:chgData name="Wang, Timothy J." userId="be135309-baa1-4715-99f0-6a1745de2ef7" providerId="ADAL" clId="{93DF1F1B-1640-467F-A121-89219391F990}" dt="2024-01-28T17:05:39.869" v="1635" actId="47"/>
        <pc:sldMkLst>
          <pc:docMk/>
          <pc:sldMk cId="3327939467" sldId="2147472182"/>
        </pc:sldMkLst>
      </pc:sldChg>
      <pc:sldChg chg="del">
        <pc:chgData name="Wang, Timothy J." userId="be135309-baa1-4715-99f0-6a1745de2ef7" providerId="ADAL" clId="{93DF1F1B-1640-467F-A121-89219391F990}" dt="2024-01-28T17:05:39.869" v="1635" actId="47"/>
        <pc:sldMkLst>
          <pc:docMk/>
          <pc:sldMk cId="1672290850" sldId="2147472183"/>
        </pc:sldMkLst>
      </pc:sldChg>
      <pc:sldChg chg="del">
        <pc:chgData name="Wang, Timothy J." userId="be135309-baa1-4715-99f0-6a1745de2ef7" providerId="ADAL" clId="{93DF1F1B-1640-467F-A121-89219391F990}" dt="2024-01-28T17:05:53.251" v="1637" actId="47"/>
        <pc:sldMkLst>
          <pc:docMk/>
          <pc:sldMk cId="640738662" sldId="2147472184"/>
        </pc:sldMkLst>
      </pc:sldChg>
      <pc:sldChg chg="addSp delSp modSp add mod modTransition">
        <pc:chgData name="Wang, Timothy J." userId="be135309-baa1-4715-99f0-6a1745de2ef7" providerId="ADAL" clId="{93DF1F1B-1640-467F-A121-89219391F990}" dt="2024-02-01T06:31:14.931" v="2322"/>
        <pc:sldMkLst>
          <pc:docMk/>
          <pc:sldMk cId="3002326574" sldId="2147472185"/>
        </pc:sldMkLst>
        <pc:spChg chg="mod">
          <ac:chgData name="Wang, Timothy J." userId="be135309-baa1-4715-99f0-6a1745de2ef7" providerId="ADAL" clId="{93DF1F1B-1640-467F-A121-89219391F990}" dt="2024-01-28T16:39:03.957" v="889"/>
          <ac:spMkLst>
            <pc:docMk/>
            <pc:sldMk cId="3002326574" sldId="2147472185"/>
            <ac:spMk id="2" creationId="{2551F7BA-9075-7F90-8789-DA086290DD2A}"/>
          </ac:spMkLst>
        </pc:spChg>
        <pc:spChg chg="add mod">
          <ac:chgData name="Wang, Timothy J." userId="be135309-baa1-4715-99f0-6a1745de2ef7" providerId="ADAL" clId="{93DF1F1B-1640-467F-A121-89219391F990}" dt="2024-01-28T16:43:03.650" v="955" actId="14100"/>
          <ac:spMkLst>
            <pc:docMk/>
            <pc:sldMk cId="3002326574" sldId="2147472185"/>
            <ac:spMk id="3" creationId="{367FC5F0-1393-83FC-EB0B-48DD439B4D5F}"/>
          </ac:spMkLst>
        </pc:spChg>
        <pc:spChg chg="add mod">
          <ac:chgData name="Wang, Timothy J." userId="be135309-baa1-4715-99f0-6a1745de2ef7" providerId="ADAL" clId="{93DF1F1B-1640-467F-A121-89219391F990}" dt="2024-01-28T16:43:03.650" v="955" actId="14100"/>
          <ac:spMkLst>
            <pc:docMk/>
            <pc:sldMk cId="3002326574" sldId="2147472185"/>
            <ac:spMk id="4" creationId="{E39D7598-4434-3767-1CD8-4354552DB488}"/>
          </ac:spMkLst>
        </pc:spChg>
        <pc:spChg chg="add mod">
          <ac:chgData name="Wang, Timothy J." userId="be135309-baa1-4715-99f0-6a1745de2ef7" providerId="ADAL" clId="{93DF1F1B-1640-467F-A121-89219391F990}" dt="2024-01-28T16:43:05.658" v="956" actId="6549"/>
          <ac:spMkLst>
            <pc:docMk/>
            <pc:sldMk cId="3002326574" sldId="2147472185"/>
            <ac:spMk id="5" creationId="{D07B5905-2318-B74E-4088-B6FB4125778E}"/>
          </ac:spMkLst>
        </pc:spChg>
        <pc:spChg chg="del">
          <ac:chgData name="Wang, Timothy J." userId="be135309-baa1-4715-99f0-6a1745de2ef7" providerId="ADAL" clId="{93DF1F1B-1640-467F-A121-89219391F990}" dt="2024-01-28T16:39:10.531" v="890" actId="478"/>
          <ac:spMkLst>
            <pc:docMk/>
            <pc:sldMk cId="3002326574" sldId="2147472185"/>
            <ac:spMk id="7" creationId="{1FFD815A-AE01-D3ED-39EF-5131E6BF3B75}"/>
          </ac:spMkLst>
        </pc:spChg>
        <pc:spChg chg="del">
          <ac:chgData name="Wang, Timothy J." userId="be135309-baa1-4715-99f0-6a1745de2ef7" providerId="ADAL" clId="{93DF1F1B-1640-467F-A121-89219391F990}" dt="2024-01-28T16:39:10.531" v="890" actId="478"/>
          <ac:spMkLst>
            <pc:docMk/>
            <pc:sldMk cId="3002326574" sldId="2147472185"/>
            <ac:spMk id="8" creationId="{B9A14862-8D26-27FA-EB79-A3DBC64443D4}"/>
          </ac:spMkLst>
        </pc:spChg>
        <pc:spChg chg="del">
          <ac:chgData name="Wang, Timothy J." userId="be135309-baa1-4715-99f0-6a1745de2ef7" providerId="ADAL" clId="{93DF1F1B-1640-467F-A121-89219391F990}" dt="2024-01-28T16:39:10.531" v="890" actId="478"/>
          <ac:spMkLst>
            <pc:docMk/>
            <pc:sldMk cId="3002326574" sldId="2147472185"/>
            <ac:spMk id="9" creationId="{6EE2EE9E-D0C5-DE13-89E4-083B8400D58C}"/>
          </ac:spMkLst>
        </pc:spChg>
        <pc:spChg chg="del">
          <ac:chgData name="Wang, Timothy J." userId="be135309-baa1-4715-99f0-6a1745de2ef7" providerId="ADAL" clId="{93DF1F1B-1640-467F-A121-89219391F990}" dt="2024-01-28T16:39:10.531" v="890" actId="478"/>
          <ac:spMkLst>
            <pc:docMk/>
            <pc:sldMk cId="3002326574" sldId="2147472185"/>
            <ac:spMk id="10" creationId="{06005CA7-05BC-9DF4-B9B6-5A016B10857E}"/>
          </ac:spMkLst>
        </pc:spChg>
        <pc:spChg chg="del">
          <ac:chgData name="Wang, Timothy J." userId="be135309-baa1-4715-99f0-6a1745de2ef7" providerId="ADAL" clId="{93DF1F1B-1640-467F-A121-89219391F990}" dt="2024-01-28T16:39:10.531" v="890" actId="478"/>
          <ac:spMkLst>
            <pc:docMk/>
            <pc:sldMk cId="3002326574" sldId="2147472185"/>
            <ac:spMk id="14" creationId="{80393031-B5BE-3F0D-D5CD-B7C20BC58C27}"/>
          </ac:spMkLst>
        </pc:spChg>
        <pc:spChg chg="add mod">
          <ac:chgData name="Wang, Timothy J." userId="be135309-baa1-4715-99f0-6a1745de2ef7" providerId="ADAL" clId="{93DF1F1B-1640-467F-A121-89219391F990}" dt="2024-01-28T16:49:52.530" v="1223" actId="1076"/>
          <ac:spMkLst>
            <pc:docMk/>
            <pc:sldMk cId="3002326574" sldId="2147472185"/>
            <ac:spMk id="15" creationId="{09889BE6-66E5-AF18-97AF-918C83D8A29C}"/>
          </ac:spMkLst>
        </pc:spChg>
        <pc:spChg chg="del">
          <ac:chgData name="Wang, Timothy J." userId="be135309-baa1-4715-99f0-6a1745de2ef7" providerId="ADAL" clId="{93DF1F1B-1640-467F-A121-89219391F990}" dt="2024-01-28T16:39:10.531" v="890" actId="478"/>
          <ac:spMkLst>
            <pc:docMk/>
            <pc:sldMk cId="3002326574" sldId="2147472185"/>
            <ac:spMk id="16" creationId="{0A3D3338-961C-3761-6DC8-45CB4CB56E48}"/>
          </ac:spMkLst>
        </pc:spChg>
        <pc:spChg chg="del">
          <ac:chgData name="Wang, Timothy J." userId="be135309-baa1-4715-99f0-6a1745de2ef7" providerId="ADAL" clId="{93DF1F1B-1640-467F-A121-89219391F990}" dt="2024-01-28T16:39:10.531" v="890" actId="478"/>
          <ac:spMkLst>
            <pc:docMk/>
            <pc:sldMk cId="3002326574" sldId="2147472185"/>
            <ac:spMk id="17" creationId="{A5FA5334-6683-940D-74FF-F1F1E086ABBD}"/>
          </ac:spMkLst>
        </pc:spChg>
        <pc:spChg chg="del">
          <ac:chgData name="Wang, Timothy J." userId="be135309-baa1-4715-99f0-6a1745de2ef7" providerId="ADAL" clId="{93DF1F1B-1640-467F-A121-89219391F990}" dt="2024-01-28T16:39:10.531" v="890" actId="478"/>
          <ac:spMkLst>
            <pc:docMk/>
            <pc:sldMk cId="3002326574" sldId="2147472185"/>
            <ac:spMk id="18" creationId="{C756DD31-4B55-AA0E-11FE-8B740C67B2DC}"/>
          </ac:spMkLst>
        </pc:spChg>
        <pc:spChg chg="del">
          <ac:chgData name="Wang, Timothy J." userId="be135309-baa1-4715-99f0-6a1745de2ef7" providerId="ADAL" clId="{93DF1F1B-1640-467F-A121-89219391F990}" dt="2024-01-28T16:39:10.531" v="890" actId="478"/>
          <ac:spMkLst>
            <pc:docMk/>
            <pc:sldMk cId="3002326574" sldId="2147472185"/>
            <ac:spMk id="19" creationId="{528C299B-2E22-D351-A1E6-F1D4E9DBAB90}"/>
          </ac:spMkLst>
        </pc:spChg>
        <pc:spChg chg="del">
          <ac:chgData name="Wang, Timothy J." userId="be135309-baa1-4715-99f0-6a1745de2ef7" providerId="ADAL" clId="{93DF1F1B-1640-467F-A121-89219391F990}" dt="2024-01-28T16:39:10.531" v="890" actId="478"/>
          <ac:spMkLst>
            <pc:docMk/>
            <pc:sldMk cId="3002326574" sldId="2147472185"/>
            <ac:spMk id="20" creationId="{5094C6CA-53BD-3FC8-F9E0-0284A7FBDF75}"/>
          </ac:spMkLst>
        </pc:spChg>
        <pc:spChg chg="del mod">
          <ac:chgData name="Wang, Timothy J." userId="be135309-baa1-4715-99f0-6a1745de2ef7" providerId="ADAL" clId="{93DF1F1B-1640-467F-A121-89219391F990}" dt="2024-01-28T16:39:10.531" v="890" actId="478"/>
          <ac:spMkLst>
            <pc:docMk/>
            <pc:sldMk cId="3002326574" sldId="2147472185"/>
            <ac:spMk id="21" creationId="{E87B03DF-C478-106A-6048-671F94C3B377}"/>
          </ac:spMkLst>
        </pc:spChg>
        <pc:spChg chg="del">
          <ac:chgData name="Wang, Timothy J." userId="be135309-baa1-4715-99f0-6a1745de2ef7" providerId="ADAL" clId="{93DF1F1B-1640-467F-A121-89219391F990}" dt="2024-01-28T16:39:10.531" v="890" actId="478"/>
          <ac:spMkLst>
            <pc:docMk/>
            <pc:sldMk cId="3002326574" sldId="2147472185"/>
            <ac:spMk id="22" creationId="{50ACB90C-C971-F976-757A-63783C7DA843}"/>
          </ac:spMkLst>
        </pc:spChg>
        <pc:spChg chg="add mod">
          <ac:chgData name="Wang, Timothy J." userId="be135309-baa1-4715-99f0-6a1745de2ef7" providerId="ADAL" clId="{93DF1F1B-1640-467F-A121-89219391F990}" dt="2024-01-28T16:50:58.793" v="1227" actId="404"/>
          <ac:spMkLst>
            <pc:docMk/>
            <pc:sldMk cId="3002326574" sldId="2147472185"/>
            <ac:spMk id="23" creationId="{BD63D64C-9403-6116-1981-4DA4EBF7992D}"/>
          </ac:spMkLst>
        </pc:spChg>
        <pc:spChg chg="add mod">
          <ac:chgData name="Wang, Timothy J." userId="be135309-baa1-4715-99f0-6a1745de2ef7" providerId="ADAL" clId="{93DF1F1B-1640-467F-A121-89219391F990}" dt="2024-01-28T16:50:58.793" v="1227" actId="404"/>
          <ac:spMkLst>
            <pc:docMk/>
            <pc:sldMk cId="3002326574" sldId="2147472185"/>
            <ac:spMk id="24" creationId="{088239EA-3D26-E537-1473-8DA97948910B}"/>
          </ac:spMkLst>
        </pc:spChg>
        <pc:spChg chg="add mod">
          <ac:chgData name="Wang, Timothy J." userId="be135309-baa1-4715-99f0-6a1745de2ef7" providerId="ADAL" clId="{93DF1F1B-1640-467F-A121-89219391F990}" dt="2024-01-28T16:50:58.793" v="1227" actId="404"/>
          <ac:spMkLst>
            <pc:docMk/>
            <pc:sldMk cId="3002326574" sldId="2147472185"/>
            <ac:spMk id="25" creationId="{DD511805-3132-0696-955A-35EDBD62937E}"/>
          </ac:spMkLst>
        </pc:spChg>
        <pc:spChg chg="add mod">
          <ac:chgData name="Wang, Timothy J." userId="be135309-baa1-4715-99f0-6a1745de2ef7" providerId="ADAL" clId="{93DF1F1B-1640-467F-A121-89219391F990}" dt="2024-01-28T16:48:41.936" v="1207" actId="20577"/>
          <ac:spMkLst>
            <pc:docMk/>
            <pc:sldMk cId="3002326574" sldId="2147472185"/>
            <ac:spMk id="27" creationId="{DF611F08-F080-6782-1F47-957D15E76FC3}"/>
          </ac:spMkLst>
        </pc:spChg>
        <pc:spChg chg="add mod">
          <ac:chgData name="Wang, Timothy J." userId="be135309-baa1-4715-99f0-6a1745de2ef7" providerId="ADAL" clId="{93DF1F1B-1640-467F-A121-89219391F990}" dt="2024-01-28T17:03:21.564" v="1392" actId="1076"/>
          <ac:spMkLst>
            <pc:docMk/>
            <pc:sldMk cId="3002326574" sldId="2147472185"/>
            <ac:spMk id="29" creationId="{99C221FA-3483-82BA-F9EC-E9BFB47E704B}"/>
          </ac:spMkLst>
        </pc:spChg>
        <pc:spChg chg="add mod">
          <ac:chgData name="Wang, Timothy J." userId="be135309-baa1-4715-99f0-6a1745de2ef7" providerId="ADAL" clId="{93DF1F1B-1640-467F-A121-89219391F990}" dt="2024-01-28T17:04:34.509" v="1541"/>
          <ac:spMkLst>
            <pc:docMk/>
            <pc:sldMk cId="3002326574" sldId="2147472185"/>
            <ac:spMk id="30" creationId="{577FDB39-8382-6560-B2F3-ACA9990395D1}"/>
          </ac:spMkLst>
        </pc:spChg>
        <pc:spChg chg="add mod">
          <ac:chgData name="Wang, Timothy J." userId="be135309-baa1-4715-99f0-6a1745de2ef7" providerId="ADAL" clId="{93DF1F1B-1640-467F-A121-89219391F990}" dt="2024-01-28T17:05:11.577" v="1634"/>
          <ac:spMkLst>
            <pc:docMk/>
            <pc:sldMk cId="3002326574" sldId="2147472185"/>
            <ac:spMk id="31" creationId="{D99109DE-FEF6-4B93-F774-144DB86D13F2}"/>
          </ac:spMkLst>
        </pc:spChg>
        <pc:cxnChg chg="add del">
          <ac:chgData name="Wang, Timothy J." userId="be135309-baa1-4715-99f0-6a1745de2ef7" providerId="ADAL" clId="{93DF1F1B-1640-467F-A121-89219391F990}" dt="2024-01-28T16:43:17.067" v="958" actId="478"/>
          <ac:cxnSpMkLst>
            <pc:docMk/>
            <pc:sldMk cId="3002326574" sldId="2147472185"/>
            <ac:cxnSpMk id="11" creationId="{0320A4FB-986C-7919-01D1-51256348370E}"/>
          </ac:cxnSpMkLst>
        </pc:cxnChg>
        <pc:cxnChg chg="add mod">
          <ac:chgData name="Wang, Timothy J." userId="be135309-baa1-4715-99f0-6a1745de2ef7" providerId="ADAL" clId="{93DF1F1B-1640-467F-A121-89219391F990}" dt="2024-01-28T16:43:25.381" v="961" actId="14100"/>
          <ac:cxnSpMkLst>
            <pc:docMk/>
            <pc:sldMk cId="3002326574" sldId="2147472185"/>
            <ac:cxnSpMk id="12" creationId="{78F71CA5-DF21-A318-9B64-F9257B9504C5}"/>
          </ac:cxnSpMkLst>
        </pc:cxnChg>
        <pc:cxnChg chg="del">
          <ac:chgData name="Wang, Timothy J." userId="be135309-baa1-4715-99f0-6a1745de2ef7" providerId="ADAL" clId="{93DF1F1B-1640-467F-A121-89219391F990}" dt="2024-01-28T16:38:55.608" v="871" actId="478"/>
          <ac:cxnSpMkLst>
            <pc:docMk/>
            <pc:sldMk cId="3002326574" sldId="2147472185"/>
            <ac:cxnSpMk id="26" creationId="{66B44956-2B94-DCD8-9266-6031B8994432}"/>
          </ac:cxnSpMkLst>
        </pc:cxnChg>
        <pc:cxnChg chg="add mod">
          <ac:chgData name="Wang, Timothy J." userId="be135309-baa1-4715-99f0-6a1745de2ef7" providerId="ADAL" clId="{93DF1F1B-1640-467F-A121-89219391F990}" dt="2024-01-28T16:51:13.678" v="1240" actId="1035"/>
          <ac:cxnSpMkLst>
            <pc:docMk/>
            <pc:sldMk cId="3002326574" sldId="2147472185"/>
            <ac:cxnSpMk id="28" creationId="{9943B0AD-8298-7657-B20E-3FB8A0D2501F}"/>
          </ac:cxnSpMkLst>
        </pc:cxnChg>
      </pc:sldChg>
      <pc:sldChg chg="addSp delSp modSp add mod modTransition">
        <pc:chgData name="Wang, Timothy J." userId="be135309-baa1-4715-99f0-6a1745de2ef7" providerId="ADAL" clId="{93DF1F1B-1640-467F-A121-89219391F990}" dt="2024-02-01T06:31:14.931" v="2323"/>
        <pc:sldMkLst>
          <pc:docMk/>
          <pc:sldMk cId="3855394954" sldId="2147472186"/>
        </pc:sldMkLst>
        <pc:spChg chg="mod">
          <ac:chgData name="Wang, Timothy J." userId="be135309-baa1-4715-99f0-6a1745de2ef7" providerId="ADAL" clId="{93DF1F1B-1640-467F-A121-89219391F990}" dt="2024-01-29T05:50:34.201" v="1806" actId="20577"/>
          <ac:spMkLst>
            <pc:docMk/>
            <pc:sldMk cId="3855394954" sldId="2147472186"/>
            <ac:spMk id="2" creationId="{2551F7BA-9075-7F90-8789-DA086290DD2A}"/>
          </ac:spMkLst>
        </pc:spChg>
        <pc:spChg chg="del">
          <ac:chgData name="Wang, Timothy J." userId="be135309-baa1-4715-99f0-6a1745de2ef7" providerId="ADAL" clId="{93DF1F1B-1640-467F-A121-89219391F990}" dt="2024-01-29T05:50:41.500" v="1807" actId="478"/>
          <ac:spMkLst>
            <pc:docMk/>
            <pc:sldMk cId="3855394954" sldId="2147472186"/>
            <ac:spMk id="3" creationId="{367FC5F0-1393-83FC-EB0B-48DD439B4D5F}"/>
          </ac:spMkLst>
        </pc:spChg>
        <pc:spChg chg="del">
          <ac:chgData name="Wang, Timothy J." userId="be135309-baa1-4715-99f0-6a1745de2ef7" providerId="ADAL" clId="{93DF1F1B-1640-467F-A121-89219391F990}" dt="2024-01-29T05:50:41.500" v="1807" actId="478"/>
          <ac:spMkLst>
            <pc:docMk/>
            <pc:sldMk cId="3855394954" sldId="2147472186"/>
            <ac:spMk id="4" creationId="{E39D7598-4434-3767-1CD8-4354552DB488}"/>
          </ac:spMkLst>
        </pc:spChg>
        <pc:spChg chg="del">
          <ac:chgData name="Wang, Timothy J." userId="be135309-baa1-4715-99f0-6a1745de2ef7" providerId="ADAL" clId="{93DF1F1B-1640-467F-A121-89219391F990}" dt="2024-01-29T05:50:41.500" v="1807" actId="478"/>
          <ac:spMkLst>
            <pc:docMk/>
            <pc:sldMk cId="3855394954" sldId="2147472186"/>
            <ac:spMk id="5" creationId="{D07B5905-2318-B74E-4088-B6FB4125778E}"/>
          </ac:spMkLst>
        </pc:spChg>
        <pc:spChg chg="del">
          <ac:chgData name="Wang, Timothy J." userId="be135309-baa1-4715-99f0-6a1745de2ef7" providerId="ADAL" clId="{93DF1F1B-1640-467F-A121-89219391F990}" dt="2024-01-29T05:50:41.500" v="1807" actId="478"/>
          <ac:spMkLst>
            <pc:docMk/>
            <pc:sldMk cId="3855394954" sldId="2147472186"/>
            <ac:spMk id="15" creationId="{09889BE6-66E5-AF18-97AF-918C83D8A29C}"/>
          </ac:spMkLst>
        </pc:spChg>
        <pc:spChg chg="add mod">
          <ac:chgData name="Wang, Timothy J." userId="be135309-baa1-4715-99f0-6a1745de2ef7" providerId="ADAL" clId="{93DF1F1B-1640-467F-A121-89219391F990}" dt="2024-01-29T05:58:27.422" v="2224" actId="20577"/>
          <ac:spMkLst>
            <pc:docMk/>
            <pc:sldMk cId="3855394954" sldId="2147472186"/>
            <ac:spMk id="16" creationId="{DE80361C-C302-C5B8-30D5-30A4AAAE0260}"/>
          </ac:spMkLst>
        </pc:spChg>
        <pc:spChg chg="add mod">
          <ac:chgData name="Wang, Timothy J." userId="be135309-baa1-4715-99f0-6a1745de2ef7" providerId="ADAL" clId="{93DF1F1B-1640-467F-A121-89219391F990}" dt="2024-01-29T05:53:59.020" v="1911" actId="207"/>
          <ac:spMkLst>
            <pc:docMk/>
            <pc:sldMk cId="3855394954" sldId="2147472186"/>
            <ac:spMk id="17" creationId="{5DD3FE26-F994-8EA3-C21C-FD249047A836}"/>
          </ac:spMkLst>
        </pc:spChg>
        <pc:spChg chg="add mod">
          <ac:chgData name="Wang, Timothy J." userId="be135309-baa1-4715-99f0-6a1745de2ef7" providerId="ADAL" clId="{93DF1F1B-1640-467F-A121-89219391F990}" dt="2024-01-29T05:58:17.139" v="2216" actId="1076"/>
          <ac:spMkLst>
            <pc:docMk/>
            <pc:sldMk cId="3855394954" sldId="2147472186"/>
            <ac:spMk id="19" creationId="{AECF39DA-1151-E873-FB42-55B626F60BDA}"/>
          </ac:spMkLst>
        </pc:spChg>
        <pc:spChg chg="add mod">
          <ac:chgData name="Wang, Timothy J." userId="be135309-baa1-4715-99f0-6a1745de2ef7" providerId="ADAL" clId="{93DF1F1B-1640-467F-A121-89219391F990}" dt="2024-01-29T05:55:44.161" v="2023" actId="1076"/>
          <ac:spMkLst>
            <pc:docMk/>
            <pc:sldMk cId="3855394954" sldId="2147472186"/>
            <ac:spMk id="20" creationId="{7AEBD785-C80C-2243-A31B-9A84074A0A6D}"/>
          </ac:spMkLst>
        </pc:spChg>
        <pc:spChg chg="add mod">
          <ac:chgData name="Wang, Timothy J." userId="be135309-baa1-4715-99f0-6a1745de2ef7" providerId="ADAL" clId="{93DF1F1B-1640-467F-A121-89219391F990}" dt="2024-01-29T05:56:29.811" v="2058" actId="1076"/>
          <ac:spMkLst>
            <pc:docMk/>
            <pc:sldMk cId="3855394954" sldId="2147472186"/>
            <ac:spMk id="21" creationId="{12438FB7-37DA-AC0D-E794-FEA51087D192}"/>
          </ac:spMkLst>
        </pc:spChg>
        <pc:spChg chg="add mod">
          <ac:chgData name="Wang, Timothy J." userId="be135309-baa1-4715-99f0-6a1745de2ef7" providerId="ADAL" clId="{93DF1F1B-1640-467F-A121-89219391F990}" dt="2024-01-29T05:55:53.922" v="2024" actId="1076"/>
          <ac:spMkLst>
            <pc:docMk/>
            <pc:sldMk cId="3855394954" sldId="2147472186"/>
            <ac:spMk id="22" creationId="{BF69D499-7309-EC64-9CA6-CC48B56D1D8E}"/>
          </ac:spMkLst>
        </pc:spChg>
        <pc:spChg chg="del">
          <ac:chgData name="Wang, Timothy J." userId="be135309-baa1-4715-99f0-6a1745de2ef7" providerId="ADAL" clId="{93DF1F1B-1640-467F-A121-89219391F990}" dt="2024-01-29T05:50:41.500" v="1807" actId="478"/>
          <ac:spMkLst>
            <pc:docMk/>
            <pc:sldMk cId="3855394954" sldId="2147472186"/>
            <ac:spMk id="23" creationId="{BD63D64C-9403-6116-1981-4DA4EBF7992D}"/>
          </ac:spMkLst>
        </pc:spChg>
        <pc:spChg chg="del">
          <ac:chgData name="Wang, Timothy J." userId="be135309-baa1-4715-99f0-6a1745de2ef7" providerId="ADAL" clId="{93DF1F1B-1640-467F-A121-89219391F990}" dt="2024-01-29T05:50:41.500" v="1807" actId="478"/>
          <ac:spMkLst>
            <pc:docMk/>
            <pc:sldMk cId="3855394954" sldId="2147472186"/>
            <ac:spMk id="24" creationId="{088239EA-3D26-E537-1473-8DA97948910B}"/>
          </ac:spMkLst>
        </pc:spChg>
        <pc:spChg chg="del">
          <ac:chgData name="Wang, Timothy J." userId="be135309-baa1-4715-99f0-6a1745de2ef7" providerId="ADAL" clId="{93DF1F1B-1640-467F-A121-89219391F990}" dt="2024-01-29T05:50:41.500" v="1807" actId="478"/>
          <ac:spMkLst>
            <pc:docMk/>
            <pc:sldMk cId="3855394954" sldId="2147472186"/>
            <ac:spMk id="25" creationId="{DD511805-3132-0696-955A-35EDBD62937E}"/>
          </ac:spMkLst>
        </pc:spChg>
        <pc:spChg chg="add mod">
          <ac:chgData name="Wang, Timothy J." userId="be135309-baa1-4715-99f0-6a1745de2ef7" providerId="ADAL" clId="{93DF1F1B-1640-467F-A121-89219391F990}" dt="2024-01-29T05:57:04.022" v="2126" actId="20577"/>
          <ac:spMkLst>
            <pc:docMk/>
            <pc:sldMk cId="3855394954" sldId="2147472186"/>
            <ac:spMk id="26" creationId="{ABF04844-6DF8-135F-8966-C97EE75A30FC}"/>
          </ac:spMkLst>
        </pc:spChg>
        <pc:spChg chg="del">
          <ac:chgData name="Wang, Timothy J." userId="be135309-baa1-4715-99f0-6a1745de2ef7" providerId="ADAL" clId="{93DF1F1B-1640-467F-A121-89219391F990}" dt="2024-01-29T05:50:50.112" v="1809" actId="478"/>
          <ac:spMkLst>
            <pc:docMk/>
            <pc:sldMk cId="3855394954" sldId="2147472186"/>
            <ac:spMk id="27" creationId="{DF611F08-F080-6782-1F47-957D15E76FC3}"/>
          </ac:spMkLst>
        </pc:spChg>
        <pc:spChg chg="del">
          <ac:chgData name="Wang, Timothy J." userId="be135309-baa1-4715-99f0-6a1745de2ef7" providerId="ADAL" clId="{93DF1F1B-1640-467F-A121-89219391F990}" dt="2024-01-29T05:50:41.500" v="1807" actId="478"/>
          <ac:spMkLst>
            <pc:docMk/>
            <pc:sldMk cId="3855394954" sldId="2147472186"/>
            <ac:spMk id="29" creationId="{99C221FA-3483-82BA-F9EC-E9BFB47E704B}"/>
          </ac:spMkLst>
        </pc:spChg>
        <pc:spChg chg="del">
          <ac:chgData name="Wang, Timothy J." userId="be135309-baa1-4715-99f0-6a1745de2ef7" providerId="ADAL" clId="{93DF1F1B-1640-467F-A121-89219391F990}" dt="2024-01-29T05:50:41.500" v="1807" actId="478"/>
          <ac:spMkLst>
            <pc:docMk/>
            <pc:sldMk cId="3855394954" sldId="2147472186"/>
            <ac:spMk id="30" creationId="{577FDB39-8382-6560-B2F3-ACA9990395D1}"/>
          </ac:spMkLst>
        </pc:spChg>
        <pc:spChg chg="del">
          <ac:chgData name="Wang, Timothy J." userId="be135309-baa1-4715-99f0-6a1745de2ef7" providerId="ADAL" clId="{93DF1F1B-1640-467F-A121-89219391F990}" dt="2024-01-29T05:50:41.500" v="1807" actId="478"/>
          <ac:spMkLst>
            <pc:docMk/>
            <pc:sldMk cId="3855394954" sldId="2147472186"/>
            <ac:spMk id="31" creationId="{D99109DE-FEF6-4B93-F774-144DB86D13F2}"/>
          </ac:spMkLst>
        </pc:spChg>
        <pc:spChg chg="add mod">
          <ac:chgData name="Wang, Timothy J." userId="be135309-baa1-4715-99f0-6a1745de2ef7" providerId="ADAL" clId="{93DF1F1B-1640-467F-A121-89219391F990}" dt="2024-01-29T05:56:46.127" v="2062" actId="20577"/>
          <ac:spMkLst>
            <pc:docMk/>
            <pc:sldMk cId="3855394954" sldId="2147472186"/>
            <ac:spMk id="33" creationId="{B868D10D-8EE5-857A-C3B0-594F549A1967}"/>
          </ac:spMkLst>
        </pc:spChg>
        <pc:spChg chg="add mod">
          <ac:chgData name="Wang, Timothy J." userId="be135309-baa1-4715-99f0-6a1745de2ef7" providerId="ADAL" clId="{93DF1F1B-1640-467F-A121-89219391F990}" dt="2024-01-29T05:57:55.300" v="2187" actId="1076"/>
          <ac:spMkLst>
            <pc:docMk/>
            <pc:sldMk cId="3855394954" sldId="2147472186"/>
            <ac:spMk id="34" creationId="{1BCEAAED-4A2D-B815-04B9-95C518E96508}"/>
          </ac:spMkLst>
        </pc:spChg>
        <pc:spChg chg="add mod">
          <ac:chgData name="Wang, Timothy J." userId="be135309-baa1-4715-99f0-6a1745de2ef7" providerId="ADAL" clId="{93DF1F1B-1640-467F-A121-89219391F990}" dt="2024-01-29T05:57:42.104" v="2176" actId="20577"/>
          <ac:spMkLst>
            <pc:docMk/>
            <pc:sldMk cId="3855394954" sldId="2147472186"/>
            <ac:spMk id="35" creationId="{6BD1A8F0-0294-1690-A565-DBB671E3F10F}"/>
          </ac:spMkLst>
        </pc:spChg>
        <pc:cxnChg chg="add mod">
          <ac:chgData name="Wang, Timothy J." userId="be135309-baa1-4715-99f0-6a1745de2ef7" providerId="ADAL" clId="{93DF1F1B-1640-467F-A121-89219391F990}" dt="2024-01-29T05:52:17.087" v="1827" actId="1076"/>
          <ac:cxnSpMkLst>
            <pc:docMk/>
            <pc:sldMk cId="3855394954" sldId="2147472186"/>
            <ac:cxnSpMk id="7" creationId="{B5E4AA51-A053-E1CC-882B-EAD49E6B2C24}"/>
          </ac:cxnSpMkLst>
        </pc:cxnChg>
        <pc:cxnChg chg="add mod">
          <ac:chgData name="Wang, Timothy J." userId="be135309-baa1-4715-99f0-6a1745de2ef7" providerId="ADAL" clId="{93DF1F1B-1640-467F-A121-89219391F990}" dt="2024-01-29T05:52:53.112" v="1842" actId="692"/>
          <ac:cxnSpMkLst>
            <pc:docMk/>
            <pc:sldMk cId="3855394954" sldId="2147472186"/>
            <ac:cxnSpMk id="9" creationId="{21592AE1-3711-46EB-385D-EC57F13BF929}"/>
          </ac:cxnSpMkLst>
        </pc:cxnChg>
        <pc:cxnChg chg="add mod">
          <ac:chgData name="Wang, Timothy J." userId="be135309-baa1-4715-99f0-6a1745de2ef7" providerId="ADAL" clId="{93DF1F1B-1640-467F-A121-89219391F990}" dt="2024-01-29T05:55:39.402" v="2022" actId="408"/>
          <ac:cxnSpMkLst>
            <pc:docMk/>
            <pc:sldMk cId="3855394954" sldId="2147472186"/>
            <ac:cxnSpMk id="10" creationId="{AAE43458-2396-3ECF-1E9C-4977D035EF4B}"/>
          </ac:cxnSpMkLst>
        </pc:cxnChg>
        <pc:cxnChg chg="add mod">
          <ac:chgData name="Wang, Timothy J." userId="be135309-baa1-4715-99f0-6a1745de2ef7" providerId="ADAL" clId="{93DF1F1B-1640-467F-A121-89219391F990}" dt="2024-01-29T05:55:39.402" v="2022" actId="408"/>
          <ac:cxnSpMkLst>
            <pc:docMk/>
            <pc:sldMk cId="3855394954" sldId="2147472186"/>
            <ac:cxnSpMk id="11" creationId="{9536972B-C338-752D-B23D-0DB1705AD925}"/>
          </ac:cxnSpMkLst>
        </pc:cxnChg>
        <pc:cxnChg chg="del">
          <ac:chgData name="Wang, Timothy J." userId="be135309-baa1-4715-99f0-6a1745de2ef7" providerId="ADAL" clId="{93DF1F1B-1640-467F-A121-89219391F990}" dt="2024-01-29T05:50:41.500" v="1807" actId="478"/>
          <ac:cxnSpMkLst>
            <pc:docMk/>
            <pc:sldMk cId="3855394954" sldId="2147472186"/>
            <ac:cxnSpMk id="12" creationId="{78F71CA5-DF21-A318-9B64-F9257B9504C5}"/>
          </ac:cxnSpMkLst>
        </pc:cxnChg>
        <pc:cxnChg chg="add mod">
          <ac:chgData name="Wang, Timothy J." userId="be135309-baa1-4715-99f0-6a1745de2ef7" providerId="ADAL" clId="{93DF1F1B-1640-467F-A121-89219391F990}" dt="2024-01-29T05:57:04.022" v="2126" actId="20577"/>
          <ac:cxnSpMkLst>
            <pc:docMk/>
            <pc:sldMk cId="3855394954" sldId="2147472186"/>
            <ac:cxnSpMk id="13" creationId="{07A31B32-3B10-C6C3-36B1-0843B826DA09}"/>
          </ac:cxnSpMkLst>
        </pc:cxnChg>
        <pc:cxnChg chg="add mod">
          <ac:chgData name="Wang, Timothy J." userId="be135309-baa1-4715-99f0-6a1745de2ef7" providerId="ADAL" clId="{93DF1F1B-1640-467F-A121-89219391F990}" dt="2024-01-29T05:53:12.105" v="1846" actId="571"/>
          <ac:cxnSpMkLst>
            <pc:docMk/>
            <pc:sldMk cId="3855394954" sldId="2147472186"/>
            <ac:cxnSpMk id="14" creationId="{57DDD0A3-CFEB-E510-7F9F-2B9C685E3642}"/>
          </ac:cxnSpMkLst>
        </pc:cxnChg>
        <pc:cxnChg chg="del">
          <ac:chgData name="Wang, Timothy J." userId="be135309-baa1-4715-99f0-6a1745de2ef7" providerId="ADAL" clId="{93DF1F1B-1640-467F-A121-89219391F990}" dt="2024-01-29T05:50:41.500" v="1807" actId="478"/>
          <ac:cxnSpMkLst>
            <pc:docMk/>
            <pc:sldMk cId="3855394954" sldId="2147472186"/>
            <ac:cxnSpMk id="28" creationId="{9943B0AD-8298-7657-B20E-3FB8A0D2501F}"/>
          </ac:cxnSpMkLst>
        </pc:cxnChg>
      </pc:sldChg>
      <pc:sldChg chg="delSp new del mod modClrScheme chgLayout">
        <pc:chgData name="Wang, Timothy J." userId="be135309-baa1-4715-99f0-6a1745de2ef7" providerId="ADAL" clId="{93DF1F1B-1640-467F-A121-89219391F990}" dt="2024-01-29T07:28:25.364" v="2306" actId="47"/>
        <pc:sldMkLst>
          <pc:docMk/>
          <pc:sldMk cId="254645688" sldId="2147472187"/>
        </pc:sldMkLst>
        <pc:spChg chg="del">
          <ac:chgData name="Wang, Timothy J." userId="be135309-baa1-4715-99f0-6a1745de2ef7" providerId="ADAL" clId="{93DF1F1B-1640-467F-A121-89219391F990}" dt="2024-01-29T07:28:22.522" v="2305" actId="700"/>
          <ac:spMkLst>
            <pc:docMk/>
            <pc:sldMk cId="254645688" sldId="2147472187"/>
            <ac:spMk id="2" creationId="{065C3186-5433-E0A5-7353-644237432306}"/>
          </ac:spMkLst>
        </pc:spChg>
        <pc:spChg chg="del">
          <ac:chgData name="Wang, Timothy J." userId="be135309-baa1-4715-99f0-6a1745de2ef7" providerId="ADAL" clId="{93DF1F1B-1640-467F-A121-89219391F990}" dt="2024-01-29T07:28:22.522" v="2305" actId="700"/>
          <ac:spMkLst>
            <pc:docMk/>
            <pc:sldMk cId="254645688" sldId="2147472187"/>
            <ac:spMk id="3" creationId="{AEB5BB3B-C83F-DB11-C2AD-F713F4AD21E2}"/>
          </ac:spMkLst>
        </pc:spChg>
      </pc:sldChg>
    </pc:docChg>
  </pc:docChgLst>
  <pc:docChgLst>
    <pc:chgData name="Wang, Timothy J." userId="be135309-baa1-4715-99f0-6a1745de2ef7" providerId="ADAL" clId="{96826ECA-12DE-42C4-8EC5-4614704BE233}"/>
    <pc:docChg chg="custSel addSld delSld modSld modSection">
      <pc:chgData name="Wang, Timothy J." userId="be135309-baa1-4715-99f0-6a1745de2ef7" providerId="ADAL" clId="{96826ECA-12DE-42C4-8EC5-4614704BE233}" dt="2023-12-12T02:14:43.374" v="109" actId="47"/>
      <pc:docMkLst>
        <pc:docMk/>
      </pc:docMkLst>
      <pc:sldChg chg="modSp mod">
        <pc:chgData name="Wang, Timothy J." userId="be135309-baa1-4715-99f0-6a1745de2ef7" providerId="ADAL" clId="{96826ECA-12DE-42C4-8EC5-4614704BE233}" dt="2023-12-12T02:12:49.628" v="105" actId="20577"/>
        <pc:sldMkLst>
          <pc:docMk/>
          <pc:sldMk cId="2130531391" sldId="2147472142"/>
        </pc:sldMkLst>
        <pc:graphicFrameChg chg="modGraphic">
          <ac:chgData name="Wang, Timothy J." userId="be135309-baa1-4715-99f0-6a1745de2ef7" providerId="ADAL" clId="{96826ECA-12DE-42C4-8EC5-4614704BE233}" dt="2023-12-12T02:12:49.628" v="105" actId="20577"/>
          <ac:graphicFrameMkLst>
            <pc:docMk/>
            <pc:sldMk cId="2130531391" sldId="2147472142"/>
            <ac:graphicFrameMk id="4" creationId="{9D372651-0C93-1140-256F-1D1A381D43E7}"/>
          </ac:graphicFrameMkLst>
        </pc:graphicFrameChg>
      </pc:sldChg>
      <pc:sldChg chg="del">
        <pc:chgData name="Wang, Timothy J." userId="be135309-baa1-4715-99f0-6a1745de2ef7" providerId="ADAL" clId="{96826ECA-12DE-42C4-8EC5-4614704BE233}" dt="2023-12-12T02:14:43.374" v="109" actId="47"/>
        <pc:sldMkLst>
          <pc:docMk/>
          <pc:sldMk cId="3329904382" sldId="2147472175"/>
        </pc:sldMkLst>
      </pc:sldChg>
      <pc:sldChg chg="del">
        <pc:chgData name="Wang, Timothy J." userId="be135309-baa1-4715-99f0-6a1745de2ef7" providerId="ADAL" clId="{96826ECA-12DE-42C4-8EC5-4614704BE233}" dt="2023-12-12T02:14:27.455" v="107" actId="47"/>
        <pc:sldMkLst>
          <pc:docMk/>
          <pc:sldMk cId="2086922025" sldId="2147472176"/>
        </pc:sldMkLst>
      </pc:sldChg>
      <pc:sldChg chg="modSp mod">
        <pc:chgData name="Wang, Timothy J." userId="be135309-baa1-4715-99f0-6a1745de2ef7" providerId="ADAL" clId="{96826ECA-12DE-42C4-8EC5-4614704BE233}" dt="2023-12-11T03:16:02.141" v="103"/>
        <pc:sldMkLst>
          <pc:docMk/>
          <pc:sldMk cId="569155294" sldId="2147472179"/>
        </pc:sldMkLst>
        <pc:spChg chg="mod">
          <ac:chgData name="Wang, Timothy J." userId="be135309-baa1-4715-99f0-6a1745de2ef7" providerId="ADAL" clId="{96826ECA-12DE-42C4-8EC5-4614704BE233}" dt="2023-12-11T03:16:02.141" v="103"/>
          <ac:spMkLst>
            <pc:docMk/>
            <pc:sldMk cId="569155294" sldId="2147472179"/>
            <ac:spMk id="7" creationId="{E3B6E5D8-6475-E844-5C78-A433B22D2B58}"/>
          </ac:spMkLst>
        </pc:spChg>
      </pc:sldChg>
      <pc:sldChg chg="modSp mod">
        <pc:chgData name="Wang, Timothy J." userId="be135309-baa1-4715-99f0-6a1745de2ef7" providerId="ADAL" clId="{96826ECA-12DE-42C4-8EC5-4614704BE233}" dt="2023-12-11T02:55:22.062" v="16" actId="2085"/>
        <pc:sldMkLst>
          <pc:docMk/>
          <pc:sldMk cId="4294294712" sldId="2147472180"/>
        </pc:sldMkLst>
        <pc:spChg chg="mod">
          <ac:chgData name="Wang, Timothy J." userId="be135309-baa1-4715-99f0-6a1745de2ef7" providerId="ADAL" clId="{96826ECA-12DE-42C4-8EC5-4614704BE233}" dt="2023-12-11T02:55:22.062" v="16" actId="2085"/>
          <ac:spMkLst>
            <pc:docMk/>
            <pc:sldMk cId="4294294712" sldId="2147472180"/>
            <ac:spMk id="9" creationId="{ECA05D91-FE40-F152-6795-6DE3AB1618F1}"/>
          </ac:spMkLst>
        </pc:spChg>
        <pc:spChg chg="mod">
          <ac:chgData name="Wang, Timothy J." userId="be135309-baa1-4715-99f0-6a1745de2ef7" providerId="ADAL" clId="{96826ECA-12DE-42C4-8EC5-4614704BE233}" dt="2023-12-11T02:55:22.062" v="16" actId="2085"/>
          <ac:spMkLst>
            <pc:docMk/>
            <pc:sldMk cId="4294294712" sldId="2147472180"/>
            <ac:spMk id="10" creationId="{3A5537E3-770B-223B-36B3-702E6B344794}"/>
          </ac:spMkLst>
        </pc:spChg>
      </pc:sldChg>
      <pc:sldChg chg="addSp delSp modSp new mod">
        <pc:chgData name="Wang, Timothy J." userId="be135309-baa1-4715-99f0-6a1745de2ef7" providerId="ADAL" clId="{96826ECA-12DE-42C4-8EC5-4614704BE233}" dt="2023-12-11T02:57:49.038" v="66" actId="1076"/>
        <pc:sldMkLst>
          <pc:docMk/>
          <pc:sldMk cId="3102237124" sldId="2147472181"/>
        </pc:sldMkLst>
        <pc:spChg chg="del">
          <ac:chgData name="Wang, Timothy J." userId="be135309-baa1-4715-99f0-6a1745de2ef7" providerId="ADAL" clId="{96826ECA-12DE-42C4-8EC5-4614704BE233}" dt="2023-12-11T02:55:47.010" v="19" actId="478"/>
          <ac:spMkLst>
            <pc:docMk/>
            <pc:sldMk cId="3102237124" sldId="2147472181"/>
            <ac:spMk id="2" creationId="{5A9B9C3D-666A-4E23-1AEC-907284291D36}"/>
          </ac:spMkLst>
        </pc:spChg>
        <pc:spChg chg="del">
          <ac:chgData name="Wang, Timothy J." userId="be135309-baa1-4715-99f0-6a1745de2ef7" providerId="ADAL" clId="{96826ECA-12DE-42C4-8EC5-4614704BE233}" dt="2023-12-11T02:55:45.395" v="18" actId="478"/>
          <ac:spMkLst>
            <pc:docMk/>
            <pc:sldMk cId="3102237124" sldId="2147472181"/>
            <ac:spMk id="3" creationId="{0F10206E-91B0-DB83-A4D0-87F42B5F189A}"/>
          </ac:spMkLst>
        </pc:spChg>
        <pc:spChg chg="add mod">
          <ac:chgData name="Wang, Timothy J." userId="be135309-baa1-4715-99f0-6a1745de2ef7" providerId="ADAL" clId="{96826ECA-12DE-42C4-8EC5-4614704BE233}" dt="2023-12-11T02:55:59.813" v="39"/>
          <ac:spMkLst>
            <pc:docMk/>
            <pc:sldMk cId="3102237124" sldId="2147472181"/>
            <ac:spMk id="4" creationId="{96E939A0-9EB7-9154-3F1E-481DFAFF734D}"/>
          </ac:spMkLst>
        </pc:spChg>
        <pc:graphicFrameChg chg="add mod modGraphic">
          <ac:chgData name="Wang, Timothy J." userId="be135309-baa1-4715-99f0-6a1745de2ef7" providerId="ADAL" clId="{96826ECA-12DE-42C4-8EC5-4614704BE233}" dt="2023-12-11T02:57:49.038" v="66" actId="1076"/>
          <ac:graphicFrameMkLst>
            <pc:docMk/>
            <pc:sldMk cId="3102237124" sldId="2147472181"/>
            <ac:graphicFrameMk id="5" creationId="{9B532FD7-170C-6D09-911A-241071A26BED}"/>
          </ac:graphicFrameMkLst>
        </pc:graphicFrameChg>
      </pc:sldChg>
      <pc:sldChg chg="add">
        <pc:chgData name="Wang, Timothy J." userId="be135309-baa1-4715-99f0-6a1745de2ef7" providerId="ADAL" clId="{96826ECA-12DE-42C4-8EC5-4614704BE233}" dt="2023-12-12T02:14:25.233" v="106"/>
        <pc:sldMkLst>
          <pc:docMk/>
          <pc:sldMk cId="3327939467" sldId="2147472182"/>
        </pc:sldMkLst>
      </pc:sldChg>
      <pc:sldChg chg="add">
        <pc:chgData name="Wang, Timothy J." userId="be135309-baa1-4715-99f0-6a1745de2ef7" providerId="ADAL" clId="{96826ECA-12DE-42C4-8EC5-4614704BE233}" dt="2023-12-12T02:14:39.889" v="108"/>
        <pc:sldMkLst>
          <pc:docMk/>
          <pc:sldMk cId="1672290850" sldId="2147472183"/>
        </pc:sldMkLst>
      </pc:sldChg>
    </pc:docChg>
  </pc:docChgLst>
  <pc:docChgLst>
    <pc:chgData name="Wang, Timothy J." userId="be135309-baa1-4715-99f0-6a1745de2ef7" providerId="ADAL" clId="{67DF38AA-7F6B-434D-B193-EF5661AC823A}"/>
    <pc:docChg chg="custSel modSld sldOrd">
      <pc:chgData name="Wang, Timothy J." userId="be135309-baa1-4715-99f0-6a1745de2ef7" providerId="ADAL" clId="{67DF38AA-7F6B-434D-B193-EF5661AC823A}" dt="2023-12-12T08:32:34.125" v="14" actId="478"/>
      <pc:docMkLst>
        <pc:docMk/>
      </pc:docMkLst>
      <pc:sldChg chg="delSp mod">
        <pc:chgData name="Wang, Timothy J." userId="be135309-baa1-4715-99f0-6a1745de2ef7" providerId="ADAL" clId="{67DF38AA-7F6B-434D-B193-EF5661AC823A}" dt="2023-12-12T07:20:10.482" v="3" actId="478"/>
        <pc:sldMkLst>
          <pc:docMk/>
          <pc:sldMk cId="3559886403" sldId="2147472152"/>
        </pc:sldMkLst>
        <pc:spChg chg="del">
          <ac:chgData name="Wang, Timothy J." userId="be135309-baa1-4715-99f0-6a1745de2ef7" providerId="ADAL" clId="{67DF38AA-7F6B-434D-B193-EF5661AC823A}" dt="2023-12-12T07:20:10.482" v="3" actId="478"/>
          <ac:spMkLst>
            <pc:docMk/>
            <pc:sldMk cId="3559886403" sldId="2147472152"/>
            <ac:spMk id="2" creationId="{662848B2-8C83-2A5E-91BA-207A1B6996BB}"/>
          </ac:spMkLst>
        </pc:spChg>
      </pc:sldChg>
      <pc:sldChg chg="addSp delSp modSp mod ord">
        <pc:chgData name="Wang, Timothy J." userId="be135309-baa1-4715-99f0-6a1745de2ef7" providerId="ADAL" clId="{67DF38AA-7F6B-434D-B193-EF5661AC823A}" dt="2023-12-12T08:32:13.240" v="10"/>
        <pc:sldMkLst>
          <pc:docMk/>
          <pc:sldMk cId="1606314092" sldId="2147472160"/>
        </pc:sldMkLst>
        <pc:spChg chg="del">
          <ac:chgData name="Wang, Timothy J." userId="be135309-baa1-4715-99f0-6a1745de2ef7" providerId="ADAL" clId="{67DF38AA-7F6B-434D-B193-EF5661AC823A}" dt="2023-12-12T08:32:05.167" v="7" actId="478"/>
          <ac:spMkLst>
            <pc:docMk/>
            <pc:sldMk cId="1606314092" sldId="2147472160"/>
            <ac:spMk id="5" creationId="{AE2E054C-03AA-DECA-AF94-FA617BC7FA1C}"/>
          </ac:spMkLst>
        </pc:spChg>
        <pc:spChg chg="del">
          <ac:chgData name="Wang, Timothy J." userId="be135309-baa1-4715-99f0-6a1745de2ef7" providerId="ADAL" clId="{67DF38AA-7F6B-434D-B193-EF5661AC823A}" dt="2023-12-12T08:32:05.167" v="7" actId="478"/>
          <ac:spMkLst>
            <pc:docMk/>
            <pc:sldMk cId="1606314092" sldId="2147472160"/>
            <ac:spMk id="6" creationId="{1D568DD7-A0DC-5639-94F4-002AA318055D}"/>
          </ac:spMkLst>
        </pc:spChg>
        <pc:spChg chg="del">
          <ac:chgData name="Wang, Timothy J." userId="be135309-baa1-4715-99f0-6a1745de2ef7" providerId="ADAL" clId="{67DF38AA-7F6B-434D-B193-EF5661AC823A}" dt="2023-12-12T08:32:05.167" v="7" actId="478"/>
          <ac:spMkLst>
            <pc:docMk/>
            <pc:sldMk cId="1606314092" sldId="2147472160"/>
            <ac:spMk id="7" creationId="{50ACC9DD-5DE5-C45B-7B8E-FEDC438C0034}"/>
          </ac:spMkLst>
        </pc:spChg>
        <pc:spChg chg="del">
          <ac:chgData name="Wang, Timothy J." userId="be135309-baa1-4715-99f0-6a1745de2ef7" providerId="ADAL" clId="{67DF38AA-7F6B-434D-B193-EF5661AC823A}" dt="2023-12-12T08:32:05.167" v="7" actId="478"/>
          <ac:spMkLst>
            <pc:docMk/>
            <pc:sldMk cId="1606314092" sldId="2147472160"/>
            <ac:spMk id="8" creationId="{77B1B7B0-C225-1F23-9EAF-0C07F49745D7}"/>
          </ac:spMkLst>
        </pc:spChg>
        <pc:spChg chg="add mod">
          <ac:chgData name="Wang, Timothy J." userId="be135309-baa1-4715-99f0-6a1745de2ef7" providerId="ADAL" clId="{67DF38AA-7F6B-434D-B193-EF5661AC823A}" dt="2023-12-12T08:32:05.645" v="8"/>
          <ac:spMkLst>
            <pc:docMk/>
            <pc:sldMk cId="1606314092" sldId="2147472160"/>
            <ac:spMk id="11" creationId="{9E658141-578A-3B51-A7F4-B665B8B26FF8}"/>
          </ac:spMkLst>
        </pc:spChg>
        <pc:spChg chg="add mod">
          <ac:chgData name="Wang, Timothy J." userId="be135309-baa1-4715-99f0-6a1745de2ef7" providerId="ADAL" clId="{67DF38AA-7F6B-434D-B193-EF5661AC823A}" dt="2023-12-12T08:32:05.645" v="8"/>
          <ac:spMkLst>
            <pc:docMk/>
            <pc:sldMk cId="1606314092" sldId="2147472160"/>
            <ac:spMk id="12" creationId="{38E177B8-689F-6E9E-F316-48AEC5701AD9}"/>
          </ac:spMkLst>
        </pc:spChg>
        <pc:spChg chg="del">
          <ac:chgData name="Wang, Timothy J." userId="be135309-baa1-4715-99f0-6a1745de2ef7" providerId="ADAL" clId="{67DF38AA-7F6B-434D-B193-EF5661AC823A}" dt="2023-12-12T08:32:05.167" v="7" actId="478"/>
          <ac:spMkLst>
            <pc:docMk/>
            <pc:sldMk cId="1606314092" sldId="2147472160"/>
            <ac:spMk id="13" creationId="{2ECA58C9-89E8-122E-88C8-844A0F94DDFF}"/>
          </ac:spMkLst>
        </pc:spChg>
        <pc:spChg chg="del">
          <ac:chgData name="Wang, Timothy J." userId="be135309-baa1-4715-99f0-6a1745de2ef7" providerId="ADAL" clId="{67DF38AA-7F6B-434D-B193-EF5661AC823A}" dt="2023-12-12T08:32:05.167" v="7" actId="478"/>
          <ac:spMkLst>
            <pc:docMk/>
            <pc:sldMk cId="1606314092" sldId="2147472160"/>
            <ac:spMk id="14" creationId="{DAB44A3E-02E3-525C-F0A6-7A8C7D3D8AFF}"/>
          </ac:spMkLst>
        </pc:spChg>
        <pc:spChg chg="del">
          <ac:chgData name="Wang, Timothy J." userId="be135309-baa1-4715-99f0-6a1745de2ef7" providerId="ADAL" clId="{67DF38AA-7F6B-434D-B193-EF5661AC823A}" dt="2023-12-12T08:32:05.167" v="7" actId="478"/>
          <ac:spMkLst>
            <pc:docMk/>
            <pc:sldMk cId="1606314092" sldId="2147472160"/>
            <ac:spMk id="15" creationId="{142A39FD-A284-BA84-6DD5-1072F5A5A71F}"/>
          </ac:spMkLst>
        </pc:spChg>
        <pc:spChg chg="add mod">
          <ac:chgData name="Wang, Timothy J." userId="be135309-baa1-4715-99f0-6a1745de2ef7" providerId="ADAL" clId="{67DF38AA-7F6B-434D-B193-EF5661AC823A}" dt="2023-12-12T08:32:05.645" v="8"/>
          <ac:spMkLst>
            <pc:docMk/>
            <pc:sldMk cId="1606314092" sldId="2147472160"/>
            <ac:spMk id="16" creationId="{F08B77B1-4205-E6E1-6DF4-4E815BA33556}"/>
          </ac:spMkLst>
        </pc:spChg>
        <pc:spChg chg="add mod">
          <ac:chgData name="Wang, Timothy J." userId="be135309-baa1-4715-99f0-6a1745de2ef7" providerId="ADAL" clId="{67DF38AA-7F6B-434D-B193-EF5661AC823A}" dt="2023-12-12T08:32:05.645" v="8"/>
          <ac:spMkLst>
            <pc:docMk/>
            <pc:sldMk cId="1606314092" sldId="2147472160"/>
            <ac:spMk id="17" creationId="{9F7FC1CB-3C4F-F84F-BAE2-5DC5A7F443AE}"/>
          </ac:spMkLst>
        </pc:spChg>
        <pc:spChg chg="add mod">
          <ac:chgData name="Wang, Timothy J." userId="be135309-baa1-4715-99f0-6a1745de2ef7" providerId="ADAL" clId="{67DF38AA-7F6B-434D-B193-EF5661AC823A}" dt="2023-12-12T08:32:05.645" v="8"/>
          <ac:spMkLst>
            <pc:docMk/>
            <pc:sldMk cId="1606314092" sldId="2147472160"/>
            <ac:spMk id="18" creationId="{35C8C0E2-39A7-60AD-BF5D-1CE553BBC3F0}"/>
          </ac:spMkLst>
        </pc:spChg>
        <pc:spChg chg="add mod">
          <ac:chgData name="Wang, Timothy J." userId="be135309-baa1-4715-99f0-6a1745de2ef7" providerId="ADAL" clId="{67DF38AA-7F6B-434D-B193-EF5661AC823A}" dt="2023-12-12T08:32:05.645" v="8"/>
          <ac:spMkLst>
            <pc:docMk/>
            <pc:sldMk cId="1606314092" sldId="2147472160"/>
            <ac:spMk id="19" creationId="{231A0756-8C27-9189-4654-E3B8FAF263D1}"/>
          </ac:spMkLst>
        </pc:spChg>
        <pc:spChg chg="add mod">
          <ac:chgData name="Wang, Timothy J." userId="be135309-baa1-4715-99f0-6a1745de2ef7" providerId="ADAL" clId="{67DF38AA-7F6B-434D-B193-EF5661AC823A}" dt="2023-12-12T08:32:05.645" v="8"/>
          <ac:spMkLst>
            <pc:docMk/>
            <pc:sldMk cId="1606314092" sldId="2147472160"/>
            <ac:spMk id="20" creationId="{F5C24781-AA7C-C1EE-67C1-0FF8AE2E2C37}"/>
          </ac:spMkLst>
        </pc:spChg>
        <pc:spChg chg="add mod">
          <ac:chgData name="Wang, Timothy J." userId="be135309-baa1-4715-99f0-6a1745de2ef7" providerId="ADAL" clId="{67DF38AA-7F6B-434D-B193-EF5661AC823A}" dt="2023-12-12T08:32:05.645" v="8"/>
          <ac:spMkLst>
            <pc:docMk/>
            <pc:sldMk cId="1606314092" sldId="2147472160"/>
            <ac:spMk id="21" creationId="{2B398677-4CEC-97EB-031F-C2603984A830}"/>
          </ac:spMkLst>
        </pc:spChg>
        <pc:spChg chg="add mod">
          <ac:chgData name="Wang, Timothy J." userId="be135309-baa1-4715-99f0-6a1745de2ef7" providerId="ADAL" clId="{67DF38AA-7F6B-434D-B193-EF5661AC823A}" dt="2023-12-12T08:32:05.645" v="8"/>
          <ac:spMkLst>
            <pc:docMk/>
            <pc:sldMk cId="1606314092" sldId="2147472160"/>
            <ac:spMk id="22" creationId="{7BEEBB65-77EE-6266-3D88-3AE908F1488F}"/>
          </ac:spMkLst>
        </pc:spChg>
        <pc:spChg chg="add mod">
          <ac:chgData name="Wang, Timothy J." userId="be135309-baa1-4715-99f0-6a1745de2ef7" providerId="ADAL" clId="{67DF38AA-7F6B-434D-B193-EF5661AC823A}" dt="2023-12-12T08:32:05.645" v="8"/>
          <ac:spMkLst>
            <pc:docMk/>
            <pc:sldMk cId="1606314092" sldId="2147472160"/>
            <ac:spMk id="23" creationId="{2F5D563F-880F-5E18-B502-AE9D08FA38AB}"/>
          </ac:spMkLst>
        </pc:spChg>
        <pc:spChg chg="add mod">
          <ac:chgData name="Wang, Timothy J." userId="be135309-baa1-4715-99f0-6a1745de2ef7" providerId="ADAL" clId="{67DF38AA-7F6B-434D-B193-EF5661AC823A}" dt="2023-12-12T08:32:05.645" v="8"/>
          <ac:spMkLst>
            <pc:docMk/>
            <pc:sldMk cId="1606314092" sldId="2147472160"/>
            <ac:spMk id="24" creationId="{66083824-DAC3-5471-CF75-F018A72AE061}"/>
          </ac:spMkLst>
        </pc:spChg>
        <pc:spChg chg="add mod">
          <ac:chgData name="Wang, Timothy J." userId="be135309-baa1-4715-99f0-6a1745de2ef7" providerId="ADAL" clId="{67DF38AA-7F6B-434D-B193-EF5661AC823A}" dt="2023-12-12T08:32:05.645" v="8"/>
          <ac:spMkLst>
            <pc:docMk/>
            <pc:sldMk cId="1606314092" sldId="2147472160"/>
            <ac:spMk id="25" creationId="{D66EDD8B-4A10-4ED4-3D28-49A1E00E5643}"/>
          </ac:spMkLst>
        </pc:spChg>
        <pc:graphicFrameChg chg="del">
          <ac:chgData name="Wang, Timothy J." userId="be135309-baa1-4715-99f0-6a1745de2ef7" providerId="ADAL" clId="{67DF38AA-7F6B-434D-B193-EF5661AC823A}" dt="2023-12-12T08:31:39.781" v="4" actId="478"/>
          <ac:graphicFrameMkLst>
            <pc:docMk/>
            <pc:sldMk cId="1606314092" sldId="2147472160"/>
            <ac:graphicFrameMk id="4" creationId="{87B2DBCF-D877-A417-2860-9DE26F1C811D}"/>
          </ac:graphicFrameMkLst>
        </pc:graphicFrameChg>
        <pc:graphicFrameChg chg="add del mod">
          <ac:chgData name="Wang, Timothy J." userId="be135309-baa1-4715-99f0-6a1745de2ef7" providerId="ADAL" clId="{67DF38AA-7F6B-434D-B193-EF5661AC823A}" dt="2023-12-12T08:32:01.781" v="6" actId="478"/>
          <ac:graphicFrameMkLst>
            <pc:docMk/>
            <pc:sldMk cId="1606314092" sldId="2147472160"/>
            <ac:graphicFrameMk id="9" creationId="{2D32A804-14F4-A494-08E1-93D3AC71D325}"/>
          </ac:graphicFrameMkLst>
        </pc:graphicFrameChg>
        <pc:graphicFrameChg chg="add mod">
          <ac:chgData name="Wang, Timothy J." userId="be135309-baa1-4715-99f0-6a1745de2ef7" providerId="ADAL" clId="{67DF38AA-7F6B-434D-B193-EF5661AC823A}" dt="2023-12-12T08:32:05.645" v="8"/>
          <ac:graphicFrameMkLst>
            <pc:docMk/>
            <pc:sldMk cId="1606314092" sldId="2147472160"/>
            <ac:graphicFrameMk id="10" creationId="{1C5106B3-3962-F2B7-9E18-B22768C6F43A}"/>
          </ac:graphicFrameMkLst>
        </pc:graphicFrameChg>
      </pc:sldChg>
      <pc:sldChg chg="addSp delSp modSp mod">
        <pc:chgData name="Wang, Timothy J." userId="be135309-baa1-4715-99f0-6a1745de2ef7" providerId="ADAL" clId="{67DF38AA-7F6B-434D-B193-EF5661AC823A}" dt="2023-12-12T08:32:34.125" v="14" actId="478"/>
        <pc:sldMkLst>
          <pc:docMk/>
          <pc:sldMk cId="2458126100" sldId="2147472164"/>
        </pc:sldMkLst>
        <pc:spChg chg="del">
          <ac:chgData name="Wang, Timothy J." userId="be135309-baa1-4715-99f0-6a1745de2ef7" providerId="ADAL" clId="{67DF38AA-7F6B-434D-B193-EF5661AC823A}" dt="2023-12-12T08:32:17.025" v="12" actId="478"/>
          <ac:spMkLst>
            <pc:docMk/>
            <pc:sldMk cId="2458126100" sldId="2147472164"/>
            <ac:spMk id="5" creationId="{07085EE8-F69A-5BC0-100D-98566460672E}"/>
          </ac:spMkLst>
        </pc:spChg>
        <pc:spChg chg="add mod">
          <ac:chgData name="Wang, Timothy J." userId="be135309-baa1-4715-99f0-6a1745de2ef7" providerId="ADAL" clId="{67DF38AA-7F6B-434D-B193-EF5661AC823A}" dt="2023-12-12T08:32:31.223" v="13"/>
          <ac:spMkLst>
            <pc:docMk/>
            <pc:sldMk cId="2458126100" sldId="2147472164"/>
            <ac:spMk id="6" creationId="{1030DA1E-0553-7EBE-0749-3FAEED834EFD}"/>
          </ac:spMkLst>
        </pc:spChg>
        <pc:spChg chg="del">
          <ac:chgData name="Wang, Timothy J." userId="be135309-baa1-4715-99f0-6a1745de2ef7" providerId="ADAL" clId="{67DF38AA-7F6B-434D-B193-EF5661AC823A}" dt="2023-12-12T08:32:17.025" v="12" actId="478"/>
          <ac:spMkLst>
            <pc:docMk/>
            <pc:sldMk cId="2458126100" sldId="2147472164"/>
            <ac:spMk id="7" creationId="{66450AEC-77EB-F292-01FD-7B83655F587A}"/>
          </ac:spMkLst>
        </pc:spChg>
        <pc:spChg chg="del">
          <ac:chgData name="Wang, Timothy J." userId="be135309-baa1-4715-99f0-6a1745de2ef7" providerId="ADAL" clId="{67DF38AA-7F6B-434D-B193-EF5661AC823A}" dt="2023-12-12T08:32:34.125" v="14" actId="478"/>
          <ac:spMkLst>
            <pc:docMk/>
            <pc:sldMk cId="2458126100" sldId="2147472164"/>
            <ac:spMk id="8" creationId="{1227AF82-CBCC-E7BD-F2E2-F97A4A7B07C9}"/>
          </ac:spMkLst>
        </pc:spChg>
        <pc:spChg chg="add mod">
          <ac:chgData name="Wang, Timothy J." userId="be135309-baa1-4715-99f0-6a1745de2ef7" providerId="ADAL" clId="{67DF38AA-7F6B-434D-B193-EF5661AC823A}" dt="2023-12-12T08:32:31.223" v="13"/>
          <ac:spMkLst>
            <pc:docMk/>
            <pc:sldMk cId="2458126100" sldId="2147472164"/>
            <ac:spMk id="9" creationId="{5D2788F6-ED81-B0BC-89AB-3303FBEE9FBF}"/>
          </ac:spMkLst>
        </pc:spChg>
        <pc:spChg chg="add mod">
          <ac:chgData name="Wang, Timothy J." userId="be135309-baa1-4715-99f0-6a1745de2ef7" providerId="ADAL" clId="{67DF38AA-7F6B-434D-B193-EF5661AC823A}" dt="2023-12-12T08:32:31.223" v="13"/>
          <ac:spMkLst>
            <pc:docMk/>
            <pc:sldMk cId="2458126100" sldId="2147472164"/>
            <ac:spMk id="10" creationId="{2507C032-B41E-7BF1-8CCB-26173D1B9D9F}"/>
          </ac:spMkLst>
        </pc:spChg>
        <pc:spChg chg="add mod">
          <ac:chgData name="Wang, Timothy J." userId="be135309-baa1-4715-99f0-6a1745de2ef7" providerId="ADAL" clId="{67DF38AA-7F6B-434D-B193-EF5661AC823A}" dt="2023-12-12T08:32:31.223" v="13"/>
          <ac:spMkLst>
            <pc:docMk/>
            <pc:sldMk cId="2458126100" sldId="2147472164"/>
            <ac:spMk id="11" creationId="{BB0B6E78-8590-10F0-6AA2-2047E85921EB}"/>
          </ac:spMkLst>
        </pc:spChg>
        <pc:spChg chg="del">
          <ac:chgData name="Wang, Timothy J." userId="be135309-baa1-4715-99f0-6a1745de2ef7" providerId="ADAL" clId="{67DF38AA-7F6B-434D-B193-EF5661AC823A}" dt="2023-12-12T08:32:17.025" v="12" actId="478"/>
          <ac:spMkLst>
            <pc:docMk/>
            <pc:sldMk cId="2458126100" sldId="2147472164"/>
            <ac:spMk id="12" creationId="{F07FC7FE-FA4D-6CD3-C9DA-AB53549EA0AE}"/>
          </ac:spMkLst>
        </pc:spChg>
        <pc:spChg chg="del">
          <ac:chgData name="Wang, Timothy J." userId="be135309-baa1-4715-99f0-6a1745de2ef7" providerId="ADAL" clId="{67DF38AA-7F6B-434D-B193-EF5661AC823A}" dt="2023-12-12T08:32:17.025" v="12" actId="478"/>
          <ac:spMkLst>
            <pc:docMk/>
            <pc:sldMk cId="2458126100" sldId="2147472164"/>
            <ac:spMk id="13" creationId="{6297BFDB-B9EE-599D-50C1-1D8C29808AD6}"/>
          </ac:spMkLst>
        </pc:spChg>
        <pc:spChg chg="del">
          <ac:chgData name="Wang, Timothy J." userId="be135309-baa1-4715-99f0-6a1745de2ef7" providerId="ADAL" clId="{67DF38AA-7F6B-434D-B193-EF5661AC823A}" dt="2023-12-12T08:32:17.025" v="12" actId="478"/>
          <ac:spMkLst>
            <pc:docMk/>
            <pc:sldMk cId="2458126100" sldId="2147472164"/>
            <ac:spMk id="14" creationId="{0505C1EB-F7D3-78ED-BADA-C98A0AF16DD6}"/>
          </ac:spMkLst>
        </pc:spChg>
        <pc:spChg chg="del">
          <ac:chgData name="Wang, Timothy J." userId="be135309-baa1-4715-99f0-6a1745de2ef7" providerId="ADAL" clId="{67DF38AA-7F6B-434D-B193-EF5661AC823A}" dt="2023-12-12T08:32:17.025" v="12" actId="478"/>
          <ac:spMkLst>
            <pc:docMk/>
            <pc:sldMk cId="2458126100" sldId="2147472164"/>
            <ac:spMk id="15" creationId="{B23DDE16-DFE6-E494-2E59-FC7583CF557E}"/>
          </ac:spMkLst>
        </pc:spChg>
        <pc:spChg chg="del">
          <ac:chgData name="Wang, Timothy J." userId="be135309-baa1-4715-99f0-6a1745de2ef7" providerId="ADAL" clId="{67DF38AA-7F6B-434D-B193-EF5661AC823A}" dt="2023-12-12T08:32:17.025" v="12" actId="478"/>
          <ac:spMkLst>
            <pc:docMk/>
            <pc:sldMk cId="2458126100" sldId="2147472164"/>
            <ac:spMk id="16" creationId="{D521056E-5C77-5296-7E25-77D5D64410D9}"/>
          </ac:spMkLst>
        </pc:spChg>
        <pc:spChg chg="del">
          <ac:chgData name="Wang, Timothy J." userId="be135309-baa1-4715-99f0-6a1745de2ef7" providerId="ADAL" clId="{67DF38AA-7F6B-434D-B193-EF5661AC823A}" dt="2023-12-12T08:32:17.025" v="12" actId="478"/>
          <ac:spMkLst>
            <pc:docMk/>
            <pc:sldMk cId="2458126100" sldId="2147472164"/>
            <ac:spMk id="17" creationId="{711D0BBA-BBAE-4BD5-2988-B68B3BEBD84D}"/>
          </ac:spMkLst>
        </pc:spChg>
        <pc:spChg chg="del">
          <ac:chgData name="Wang, Timothy J." userId="be135309-baa1-4715-99f0-6a1745de2ef7" providerId="ADAL" clId="{67DF38AA-7F6B-434D-B193-EF5661AC823A}" dt="2023-12-12T08:32:17.025" v="12" actId="478"/>
          <ac:spMkLst>
            <pc:docMk/>
            <pc:sldMk cId="2458126100" sldId="2147472164"/>
            <ac:spMk id="18" creationId="{1DA42AD5-D5ED-5F1F-7F7B-369FC5CEB80C}"/>
          </ac:spMkLst>
        </pc:spChg>
        <pc:spChg chg="add mod">
          <ac:chgData name="Wang, Timothy J." userId="be135309-baa1-4715-99f0-6a1745de2ef7" providerId="ADAL" clId="{67DF38AA-7F6B-434D-B193-EF5661AC823A}" dt="2023-12-12T08:32:31.223" v="13"/>
          <ac:spMkLst>
            <pc:docMk/>
            <pc:sldMk cId="2458126100" sldId="2147472164"/>
            <ac:spMk id="19" creationId="{106DEE69-BA2A-BD1F-1A84-B1AF4F778A4D}"/>
          </ac:spMkLst>
        </pc:spChg>
        <pc:spChg chg="add mod">
          <ac:chgData name="Wang, Timothy J." userId="be135309-baa1-4715-99f0-6a1745de2ef7" providerId="ADAL" clId="{67DF38AA-7F6B-434D-B193-EF5661AC823A}" dt="2023-12-12T08:32:31.223" v="13"/>
          <ac:spMkLst>
            <pc:docMk/>
            <pc:sldMk cId="2458126100" sldId="2147472164"/>
            <ac:spMk id="20" creationId="{761AEF83-C8D5-CF19-E587-C5D643048814}"/>
          </ac:spMkLst>
        </pc:spChg>
        <pc:spChg chg="add mod">
          <ac:chgData name="Wang, Timothy J." userId="be135309-baa1-4715-99f0-6a1745de2ef7" providerId="ADAL" clId="{67DF38AA-7F6B-434D-B193-EF5661AC823A}" dt="2023-12-12T08:32:31.223" v="13"/>
          <ac:spMkLst>
            <pc:docMk/>
            <pc:sldMk cId="2458126100" sldId="2147472164"/>
            <ac:spMk id="21" creationId="{42A250AD-922F-18A2-2C19-7D6B95A67E72}"/>
          </ac:spMkLst>
        </pc:spChg>
        <pc:spChg chg="del">
          <ac:chgData name="Wang, Timothy J." userId="be135309-baa1-4715-99f0-6a1745de2ef7" providerId="ADAL" clId="{67DF38AA-7F6B-434D-B193-EF5661AC823A}" dt="2023-12-12T08:32:17.025" v="12" actId="478"/>
          <ac:spMkLst>
            <pc:docMk/>
            <pc:sldMk cId="2458126100" sldId="2147472164"/>
            <ac:spMk id="29" creationId="{3AFDE629-FA82-2C15-57E3-75083583D3B2}"/>
          </ac:spMkLst>
        </pc:spChg>
        <pc:spChg chg="del">
          <ac:chgData name="Wang, Timothy J." userId="be135309-baa1-4715-99f0-6a1745de2ef7" providerId="ADAL" clId="{67DF38AA-7F6B-434D-B193-EF5661AC823A}" dt="2023-12-12T08:32:17.025" v="12" actId="478"/>
          <ac:spMkLst>
            <pc:docMk/>
            <pc:sldMk cId="2458126100" sldId="2147472164"/>
            <ac:spMk id="30" creationId="{442A277F-1CA4-EAE1-3A16-915D61F5F7B5}"/>
          </ac:spMkLst>
        </pc:spChg>
        <pc:graphicFrameChg chg="add mod">
          <ac:chgData name="Wang, Timothy J." userId="be135309-baa1-4715-99f0-6a1745de2ef7" providerId="ADAL" clId="{67DF38AA-7F6B-434D-B193-EF5661AC823A}" dt="2023-12-12T08:32:31.223" v="13"/>
          <ac:graphicFrameMkLst>
            <pc:docMk/>
            <pc:sldMk cId="2458126100" sldId="2147472164"/>
            <ac:graphicFrameMk id="3" creationId="{88A6545E-8905-DC4F-10A8-58BD7206EBB5}"/>
          </ac:graphicFrameMkLst>
        </pc:graphicFrameChg>
        <pc:graphicFrameChg chg="del">
          <ac:chgData name="Wang, Timothy J." userId="be135309-baa1-4715-99f0-6a1745de2ef7" providerId="ADAL" clId="{67DF38AA-7F6B-434D-B193-EF5661AC823A}" dt="2023-12-12T08:32:15.922" v="11" actId="478"/>
          <ac:graphicFrameMkLst>
            <pc:docMk/>
            <pc:sldMk cId="2458126100" sldId="2147472164"/>
            <ac:graphicFrameMk id="4" creationId="{87B2DBCF-D877-A417-2860-9DE26F1C811D}"/>
          </ac:graphicFrameMkLst>
        </pc:graphicFrameChg>
      </pc:sldChg>
      <pc:sldChg chg="delSp modSp mod">
        <pc:chgData name="Wang, Timothy J." userId="be135309-baa1-4715-99f0-6a1745de2ef7" providerId="ADAL" clId="{67DF38AA-7F6B-434D-B193-EF5661AC823A}" dt="2023-12-12T07:20:02.761" v="1" actId="478"/>
        <pc:sldMkLst>
          <pc:docMk/>
          <pc:sldMk cId="3701030537" sldId="2147472170"/>
        </pc:sldMkLst>
        <pc:spChg chg="del mod">
          <ac:chgData name="Wang, Timothy J." userId="be135309-baa1-4715-99f0-6a1745de2ef7" providerId="ADAL" clId="{67DF38AA-7F6B-434D-B193-EF5661AC823A}" dt="2023-12-12T07:20:02.761" v="1" actId="478"/>
          <ac:spMkLst>
            <pc:docMk/>
            <pc:sldMk cId="3701030537" sldId="2147472170"/>
            <ac:spMk id="2" creationId="{662848B2-8C83-2A5E-91BA-207A1B6996BB}"/>
          </ac:spMkLst>
        </pc:spChg>
      </pc:sldChg>
      <pc:sldChg chg="delSp mod">
        <pc:chgData name="Wang, Timothy J." userId="be135309-baa1-4715-99f0-6a1745de2ef7" providerId="ADAL" clId="{67DF38AA-7F6B-434D-B193-EF5661AC823A}" dt="2023-12-12T07:20:06.108" v="2" actId="478"/>
        <pc:sldMkLst>
          <pc:docMk/>
          <pc:sldMk cId="3494993893" sldId="2147472171"/>
        </pc:sldMkLst>
        <pc:spChg chg="del">
          <ac:chgData name="Wang, Timothy J." userId="be135309-baa1-4715-99f0-6a1745de2ef7" providerId="ADAL" clId="{67DF38AA-7F6B-434D-B193-EF5661AC823A}" dt="2023-12-12T07:20:06.108" v="2" actId="478"/>
          <ac:spMkLst>
            <pc:docMk/>
            <pc:sldMk cId="3494993893" sldId="2147472171"/>
            <ac:spMk id="2" creationId="{662848B2-8C83-2A5E-91BA-207A1B6996BB}"/>
          </ac:spMkLst>
        </pc:spChg>
      </pc:sldChg>
    </pc:docChg>
  </pc:docChgLst>
  <pc:docChgLst>
    <pc:chgData name="Wang, Timothy J." userId="be135309-baa1-4715-99f0-6a1745de2ef7" providerId="ADAL" clId="{EA2B5DDF-993D-44BF-B224-086230859426}"/>
    <pc:docChg chg="undo custSel addSld delSld modSld sldOrd modSection">
      <pc:chgData name="Wang, Timothy J." userId="be135309-baa1-4715-99f0-6a1745de2ef7" providerId="ADAL" clId="{EA2B5DDF-993D-44BF-B224-086230859426}" dt="2023-12-11T02:45:11.843" v="4111" actId="3064"/>
      <pc:docMkLst>
        <pc:docMk/>
      </pc:docMkLst>
      <pc:sldChg chg="modSp mod modTransition">
        <pc:chgData name="Wang, Timothy J." userId="be135309-baa1-4715-99f0-6a1745de2ef7" providerId="ADAL" clId="{EA2B5DDF-993D-44BF-B224-086230859426}" dt="2023-12-11T02:41:37.682" v="3982"/>
        <pc:sldMkLst>
          <pc:docMk/>
          <pc:sldMk cId="0" sldId="256"/>
        </pc:sldMkLst>
        <pc:spChg chg="mod">
          <ac:chgData name="Wang, Timothy J." userId="be135309-baa1-4715-99f0-6a1745de2ef7" providerId="ADAL" clId="{EA2B5DDF-993D-44BF-B224-086230859426}" dt="2023-12-11T01:53:50.994" v="3814"/>
          <ac:spMkLst>
            <pc:docMk/>
            <pc:sldMk cId="0" sldId="256"/>
            <ac:spMk id="5" creationId="{4BE0CEFE-062C-4720-884B-5246EE13E0B6}"/>
          </ac:spMkLst>
        </pc:spChg>
        <pc:spChg chg="mod">
          <ac:chgData name="Wang, Timothy J." userId="be135309-baa1-4715-99f0-6a1745de2ef7" providerId="ADAL" clId="{EA2B5DDF-993D-44BF-B224-086230859426}" dt="2023-12-08T07:27:36.592" v="18" actId="20577"/>
          <ac:spMkLst>
            <pc:docMk/>
            <pc:sldMk cId="0" sldId="256"/>
            <ac:spMk id="6" creationId="{B39E2522-4A46-489D-9BD5-FAB747051F64}"/>
          </ac:spMkLst>
        </pc:spChg>
      </pc:sldChg>
      <pc:sldChg chg="ord">
        <pc:chgData name="Wang, Timothy J." userId="be135309-baa1-4715-99f0-6a1745de2ef7" providerId="ADAL" clId="{EA2B5DDF-993D-44BF-B224-086230859426}" dt="2023-12-10T18:41:03.328" v="3110"/>
        <pc:sldMkLst>
          <pc:docMk/>
          <pc:sldMk cId="3014544413" sldId="2147472103"/>
        </pc:sldMkLst>
      </pc:sldChg>
      <pc:sldChg chg="modSp mod ord modTransition">
        <pc:chgData name="Wang, Timothy J." userId="be135309-baa1-4715-99f0-6a1745de2ef7" providerId="ADAL" clId="{EA2B5DDF-993D-44BF-B224-086230859426}" dt="2023-12-11T02:45:11.843" v="4111" actId="3064"/>
        <pc:sldMkLst>
          <pc:docMk/>
          <pc:sldMk cId="2130531391" sldId="2147472142"/>
        </pc:sldMkLst>
        <pc:spChg chg="mod">
          <ac:chgData name="Wang, Timothy J." userId="be135309-baa1-4715-99f0-6a1745de2ef7" providerId="ADAL" clId="{EA2B5DDF-993D-44BF-B224-086230859426}" dt="2023-12-11T02:45:11.843" v="4111" actId="3064"/>
          <ac:spMkLst>
            <pc:docMk/>
            <pc:sldMk cId="2130531391" sldId="2147472142"/>
            <ac:spMk id="10" creationId="{199AA378-1490-D03A-FD9B-091A84762AED}"/>
          </ac:spMkLst>
        </pc:spChg>
        <pc:spChg chg="mod">
          <ac:chgData name="Wang, Timothy J." userId="be135309-baa1-4715-99f0-6a1745de2ef7" providerId="ADAL" clId="{EA2B5DDF-993D-44BF-B224-086230859426}" dt="2023-12-11T02:45:11.843" v="4111" actId="3064"/>
          <ac:spMkLst>
            <pc:docMk/>
            <pc:sldMk cId="2130531391" sldId="2147472142"/>
            <ac:spMk id="12" creationId="{72FF3F0A-06BE-3B81-D900-63F67A07554C}"/>
          </ac:spMkLst>
        </pc:spChg>
        <pc:spChg chg="mod">
          <ac:chgData name="Wang, Timothy J." userId="be135309-baa1-4715-99f0-6a1745de2ef7" providerId="ADAL" clId="{EA2B5DDF-993D-44BF-B224-086230859426}" dt="2023-12-11T02:44:56.830" v="4110" actId="113"/>
          <ac:spMkLst>
            <pc:docMk/>
            <pc:sldMk cId="2130531391" sldId="2147472142"/>
            <ac:spMk id="16" creationId="{988E1622-4B32-3989-9D28-A05622EC69D8}"/>
          </ac:spMkLst>
        </pc:spChg>
        <pc:spChg chg="mod">
          <ac:chgData name="Wang, Timothy J." userId="be135309-baa1-4715-99f0-6a1745de2ef7" providerId="ADAL" clId="{EA2B5DDF-993D-44BF-B224-086230859426}" dt="2023-12-11T02:44:56.830" v="4110" actId="113"/>
          <ac:spMkLst>
            <pc:docMk/>
            <pc:sldMk cId="2130531391" sldId="2147472142"/>
            <ac:spMk id="21" creationId="{ECC93163-641D-333A-C0F1-D79DD0A1BA9D}"/>
          </ac:spMkLst>
        </pc:spChg>
        <pc:spChg chg="mod">
          <ac:chgData name="Wang, Timothy J." userId="be135309-baa1-4715-99f0-6a1745de2ef7" providerId="ADAL" clId="{EA2B5DDF-993D-44BF-B224-086230859426}" dt="2023-12-11T02:44:56.830" v="4110" actId="113"/>
          <ac:spMkLst>
            <pc:docMk/>
            <pc:sldMk cId="2130531391" sldId="2147472142"/>
            <ac:spMk id="26" creationId="{785D410F-7E4F-8FA3-F6D4-EA7C77C96E6A}"/>
          </ac:spMkLst>
        </pc:spChg>
        <pc:spChg chg="mod">
          <ac:chgData name="Wang, Timothy J." userId="be135309-baa1-4715-99f0-6a1745de2ef7" providerId="ADAL" clId="{EA2B5DDF-993D-44BF-B224-086230859426}" dt="2023-12-11T02:44:56.830" v="4110" actId="113"/>
          <ac:spMkLst>
            <pc:docMk/>
            <pc:sldMk cId="2130531391" sldId="2147472142"/>
            <ac:spMk id="27" creationId="{521C8589-CC11-9F3D-3D5E-9985DFBBD980}"/>
          </ac:spMkLst>
        </pc:spChg>
        <pc:spChg chg="mod">
          <ac:chgData name="Wang, Timothy J." userId="be135309-baa1-4715-99f0-6a1745de2ef7" providerId="ADAL" clId="{EA2B5DDF-993D-44BF-B224-086230859426}" dt="2023-12-11T02:44:56.830" v="4110" actId="113"/>
          <ac:spMkLst>
            <pc:docMk/>
            <pc:sldMk cId="2130531391" sldId="2147472142"/>
            <ac:spMk id="28" creationId="{7F2A2DD3-F939-73DB-D993-73CC3A48E2C8}"/>
          </ac:spMkLst>
        </pc:spChg>
        <pc:spChg chg="mod">
          <ac:chgData name="Wang, Timothy J." userId="be135309-baa1-4715-99f0-6a1745de2ef7" providerId="ADAL" clId="{EA2B5DDF-993D-44BF-B224-086230859426}" dt="2023-12-11T02:44:56.830" v="4110" actId="113"/>
          <ac:spMkLst>
            <pc:docMk/>
            <pc:sldMk cId="2130531391" sldId="2147472142"/>
            <ac:spMk id="31" creationId="{F91F0A3D-AA95-9156-5552-35366876C39F}"/>
          </ac:spMkLst>
        </pc:spChg>
        <pc:graphicFrameChg chg="mod modGraphic">
          <ac:chgData name="Wang, Timothy J." userId="be135309-baa1-4715-99f0-6a1745de2ef7" providerId="ADAL" clId="{EA2B5DDF-993D-44BF-B224-086230859426}" dt="2023-12-10T18:35:11.140" v="2976"/>
          <ac:graphicFrameMkLst>
            <pc:docMk/>
            <pc:sldMk cId="2130531391" sldId="2147472142"/>
            <ac:graphicFrameMk id="4" creationId="{9D372651-0C93-1140-256F-1D1A381D43E7}"/>
          </ac:graphicFrameMkLst>
        </pc:graphicFrameChg>
      </pc:sldChg>
      <pc:sldChg chg="del">
        <pc:chgData name="Wang, Timothy J." userId="be135309-baa1-4715-99f0-6a1745de2ef7" providerId="ADAL" clId="{EA2B5DDF-993D-44BF-B224-086230859426}" dt="2023-12-11T02:06:13.238" v="3850" actId="47"/>
        <pc:sldMkLst>
          <pc:docMk/>
          <pc:sldMk cId="3752232630" sldId="2147472151"/>
        </pc:sldMkLst>
      </pc:sldChg>
      <pc:sldChg chg="modSp mod">
        <pc:chgData name="Wang, Timothy J." userId="be135309-baa1-4715-99f0-6a1745de2ef7" providerId="ADAL" clId="{EA2B5DDF-993D-44BF-B224-086230859426}" dt="2023-12-11T02:06:10.657" v="3849"/>
        <pc:sldMkLst>
          <pc:docMk/>
          <pc:sldMk cId="3559886403" sldId="2147472152"/>
        </pc:sldMkLst>
        <pc:spChg chg="mod">
          <ac:chgData name="Wang, Timothy J." userId="be135309-baa1-4715-99f0-6a1745de2ef7" providerId="ADAL" clId="{EA2B5DDF-993D-44BF-B224-086230859426}" dt="2023-12-11T02:06:10.657" v="3849"/>
          <ac:spMkLst>
            <pc:docMk/>
            <pc:sldMk cId="3559886403" sldId="2147472152"/>
            <ac:spMk id="5" creationId="{5082B48D-CD84-E2D2-78F1-22D1867BC77B}"/>
          </ac:spMkLst>
        </pc:spChg>
      </pc:sldChg>
      <pc:sldChg chg="del modTransition">
        <pc:chgData name="Wang, Timothy J." userId="be135309-baa1-4715-99f0-6a1745de2ef7" providerId="ADAL" clId="{EA2B5DDF-993D-44BF-B224-086230859426}" dt="2023-12-10T18:48:51.475" v="3793" actId="47"/>
        <pc:sldMkLst>
          <pc:docMk/>
          <pc:sldMk cId="3815072728" sldId="2147472154"/>
        </pc:sldMkLst>
      </pc:sldChg>
      <pc:sldChg chg="modSp mod modTransition">
        <pc:chgData name="Wang, Timothy J." userId="be135309-baa1-4715-99f0-6a1745de2ef7" providerId="ADAL" clId="{EA2B5DDF-993D-44BF-B224-086230859426}" dt="2023-12-11T02:41:37.685" v="3984"/>
        <pc:sldMkLst>
          <pc:docMk/>
          <pc:sldMk cId="4149732360" sldId="2147472155"/>
        </pc:sldMkLst>
        <pc:spChg chg="mod">
          <ac:chgData name="Wang, Timothy J." userId="be135309-baa1-4715-99f0-6a1745de2ef7" providerId="ADAL" clId="{EA2B5DDF-993D-44BF-B224-086230859426}" dt="2023-12-08T08:26:11.913" v="570" actId="20577"/>
          <ac:spMkLst>
            <pc:docMk/>
            <pc:sldMk cId="4149732360" sldId="2147472155"/>
            <ac:spMk id="13" creationId="{31934CBA-18B3-5409-930F-FEFFDA01B258}"/>
          </ac:spMkLst>
        </pc:spChg>
        <pc:spChg chg="mod">
          <ac:chgData name="Wang, Timothy J." userId="be135309-baa1-4715-99f0-6a1745de2ef7" providerId="ADAL" clId="{EA2B5DDF-993D-44BF-B224-086230859426}" dt="2023-12-08T08:25:56.292" v="567" actId="20577"/>
          <ac:spMkLst>
            <pc:docMk/>
            <pc:sldMk cId="4149732360" sldId="2147472155"/>
            <ac:spMk id="14" creationId="{9E82AA10-7844-E926-E9D4-B51BF3169BAE}"/>
          </ac:spMkLst>
        </pc:spChg>
        <pc:spChg chg="mod">
          <ac:chgData name="Wang, Timothy J." userId="be135309-baa1-4715-99f0-6a1745de2ef7" providerId="ADAL" clId="{EA2B5DDF-993D-44BF-B224-086230859426}" dt="2023-12-08T08:26:01.886" v="568" actId="20577"/>
          <ac:spMkLst>
            <pc:docMk/>
            <pc:sldMk cId="4149732360" sldId="2147472155"/>
            <ac:spMk id="30" creationId="{DE210D2A-451A-CF0A-0E23-75911A858B85}"/>
          </ac:spMkLst>
        </pc:spChg>
        <pc:spChg chg="mod">
          <ac:chgData name="Wang, Timothy J." userId="be135309-baa1-4715-99f0-6a1745de2ef7" providerId="ADAL" clId="{EA2B5DDF-993D-44BF-B224-086230859426}" dt="2023-12-08T08:26:05.543" v="569" actId="20577"/>
          <ac:spMkLst>
            <pc:docMk/>
            <pc:sldMk cId="4149732360" sldId="2147472155"/>
            <ac:spMk id="31" creationId="{5228A3F5-BFE9-7DBC-3DAE-E8D14FB017B3}"/>
          </ac:spMkLst>
        </pc:spChg>
        <pc:spChg chg="mod">
          <ac:chgData name="Wang, Timothy J." userId="be135309-baa1-4715-99f0-6a1745de2ef7" providerId="ADAL" clId="{EA2B5DDF-993D-44BF-B224-086230859426}" dt="2023-12-08T08:25:53.464" v="566" actId="20577"/>
          <ac:spMkLst>
            <pc:docMk/>
            <pc:sldMk cId="4149732360" sldId="2147472155"/>
            <ac:spMk id="32" creationId="{2E4D501A-DF47-1849-A9B9-A11ACAEFF099}"/>
          </ac:spMkLst>
        </pc:spChg>
      </pc:sldChg>
      <pc:sldChg chg="del modTransition">
        <pc:chgData name="Wang, Timothy J." userId="be135309-baa1-4715-99f0-6a1745de2ef7" providerId="ADAL" clId="{EA2B5DDF-993D-44BF-B224-086230859426}" dt="2023-12-10T18:48:51.475" v="3793" actId="47"/>
        <pc:sldMkLst>
          <pc:docMk/>
          <pc:sldMk cId="2977111391" sldId="2147472156"/>
        </pc:sldMkLst>
      </pc:sldChg>
      <pc:sldChg chg="del modTransition">
        <pc:chgData name="Wang, Timothy J." userId="be135309-baa1-4715-99f0-6a1745de2ef7" providerId="ADAL" clId="{EA2B5DDF-993D-44BF-B224-086230859426}" dt="2023-12-10T18:48:51.475" v="3793" actId="47"/>
        <pc:sldMkLst>
          <pc:docMk/>
          <pc:sldMk cId="1258994557" sldId="2147472157"/>
        </pc:sldMkLst>
      </pc:sldChg>
      <pc:sldChg chg="del modTransition">
        <pc:chgData name="Wang, Timothy J." userId="be135309-baa1-4715-99f0-6a1745de2ef7" providerId="ADAL" clId="{EA2B5DDF-993D-44BF-B224-086230859426}" dt="2023-12-10T18:48:51.475" v="3793" actId="47"/>
        <pc:sldMkLst>
          <pc:docMk/>
          <pc:sldMk cId="2235768697" sldId="2147472158"/>
        </pc:sldMkLst>
      </pc:sldChg>
      <pc:sldChg chg="del modTransition">
        <pc:chgData name="Wang, Timothy J." userId="be135309-baa1-4715-99f0-6a1745de2ef7" providerId="ADAL" clId="{EA2B5DDF-993D-44BF-B224-086230859426}" dt="2023-12-10T18:48:51.475" v="3793" actId="47"/>
        <pc:sldMkLst>
          <pc:docMk/>
          <pc:sldMk cId="2237123507" sldId="2147472159"/>
        </pc:sldMkLst>
      </pc:sldChg>
      <pc:sldChg chg="modSp add del mod modTransition">
        <pc:chgData name="Wang, Timothy J." userId="be135309-baa1-4715-99f0-6a1745de2ef7" providerId="ADAL" clId="{EA2B5DDF-993D-44BF-B224-086230859426}" dt="2023-12-11T02:41:37.686" v="3985"/>
        <pc:sldMkLst>
          <pc:docMk/>
          <pc:sldMk cId="1606314092" sldId="2147472160"/>
        </pc:sldMkLst>
        <pc:spChg chg="mod">
          <ac:chgData name="Wang, Timothy J." userId="be135309-baa1-4715-99f0-6a1745de2ef7" providerId="ADAL" clId="{EA2B5DDF-993D-44BF-B224-086230859426}" dt="2023-12-11T02:38:10.774" v="3912" actId="1076"/>
          <ac:spMkLst>
            <pc:docMk/>
            <pc:sldMk cId="1606314092" sldId="2147472160"/>
            <ac:spMk id="5" creationId="{AE2E054C-03AA-DECA-AF94-FA617BC7FA1C}"/>
          </ac:spMkLst>
        </pc:spChg>
        <pc:spChg chg="mod">
          <ac:chgData name="Wang, Timothy J." userId="be135309-baa1-4715-99f0-6a1745de2ef7" providerId="ADAL" clId="{EA2B5DDF-993D-44BF-B224-086230859426}" dt="2023-12-11T02:38:19.964" v="3913" actId="14100"/>
          <ac:spMkLst>
            <pc:docMk/>
            <pc:sldMk cId="1606314092" sldId="2147472160"/>
            <ac:spMk id="8" creationId="{77B1B7B0-C225-1F23-9EAF-0C07F49745D7}"/>
          </ac:spMkLst>
        </pc:spChg>
        <pc:spChg chg="mod">
          <ac:chgData name="Wang, Timothy J." userId="be135309-baa1-4715-99f0-6a1745de2ef7" providerId="ADAL" clId="{EA2B5DDF-993D-44BF-B224-086230859426}" dt="2023-12-11T02:38:10.774" v="3912" actId="1076"/>
          <ac:spMkLst>
            <pc:docMk/>
            <pc:sldMk cId="1606314092" sldId="2147472160"/>
            <ac:spMk id="13" creationId="{2ECA58C9-89E8-122E-88C8-844A0F94DDFF}"/>
          </ac:spMkLst>
        </pc:spChg>
        <pc:spChg chg="mod">
          <ac:chgData name="Wang, Timothy J." userId="be135309-baa1-4715-99f0-6a1745de2ef7" providerId="ADAL" clId="{EA2B5DDF-993D-44BF-B224-086230859426}" dt="2023-12-11T02:38:27.693" v="3914" actId="14100"/>
          <ac:spMkLst>
            <pc:docMk/>
            <pc:sldMk cId="1606314092" sldId="2147472160"/>
            <ac:spMk id="14" creationId="{DAB44A3E-02E3-525C-F0A6-7A8C7D3D8AFF}"/>
          </ac:spMkLst>
        </pc:spChg>
      </pc:sldChg>
      <pc:sldChg chg="del modTransition">
        <pc:chgData name="Wang, Timothy J." userId="be135309-baa1-4715-99f0-6a1745de2ef7" providerId="ADAL" clId="{EA2B5DDF-993D-44BF-B224-086230859426}" dt="2023-12-10T18:48:51.475" v="3793" actId="47"/>
        <pc:sldMkLst>
          <pc:docMk/>
          <pc:sldMk cId="616900208" sldId="2147472161"/>
        </pc:sldMkLst>
      </pc:sldChg>
      <pc:sldChg chg="del modTransition">
        <pc:chgData name="Wang, Timothy J." userId="be135309-baa1-4715-99f0-6a1745de2ef7" providerId="ADAL" clId="{EA2B5DDF-993D-44BF-B224-086230859426}" dt="2023-12-10T18:48:51.475" v="3793" actId="47"/>
        <pc:sldMkLst>
          <pc:docMk/>
          <pc:sldMk cId="1598292246" sldId="2147472162"/>
        </pc:sldMkLst>
      </pc:sldChg>
      <pc:sldChg chg="del modTransition">
        <pc:chgData name="Wang, Timothy J." userId="be135309-baa1-4715-99f0-6a1745de2ef7" providerId="ADAL" clId="{EA2B5DDF-993D-44BF-B224-086230859426}" dt="2023-12-10T18:48:51.475" v="3793" actId="47"/>
        <pc:sldMkLst>
          <pc:docMk/>
          <pc:sldMk cId="3396383148" sldId="2147472163"/>
        </pc:sldMkLst>
      </pc:sldChg>
      <pc:sldChg chg="add del modTransition">
        <pc:chgData name="Wang, Timothy J." userId="be135309-baa1-4715-99f0-6a1745de2ef7" providerId="ADAL" clId="{EA2B5DDF-993D-44BF-B224-086230859426}" dt="2023-12-11T02:41:37.697" v="3986"/>
        <pc:sldMkLst>
          <pc:docMk/>
          <pc:sldMk cId="2458126100" sldId="2147472164"/>
        </pc:sldMkLst>
      </pc:sldChg>
      <pc:sldChg chg="del modTransition">
        <pc:chgData name="Wang, Timothy J." userId="be135309-baa1-4715-99f0-6a1745de2ef7" providerId="ADAL" clId="{EA2B5DDF-993D-44BF-B224-086230859426}" dt="2023-12-10T18:48:51.475" v="3793" actId="47"/>
        <pc:sldMkLst>
          <pc:docMk/>
          <pc:sldMk cId="2650028347" sldId="2147472165"/>
        </pc:sldMkLst>
      </pc:sldChg>
      <pc:sldChg chg="del">
        <pc:chgData name="Wang, Timothy J." userId="be135309-baa1-4715-99f0-6a1745de2ef7" providerId="ADAL" clId="{EA2B5DDF-993D-44BF-B224-086230859426}" dt="2023-12-08T07:56:25.161" v="202" actId="47"/>
        <pc:sldMkLst>
          <pc:docMk/>
          <pc:sldMk cId="1391418710" sldId="2147472166"/>
        </pc:sldMkLst>
      </pc:sldChg>
      <pc:sldChg chg="del">
        <pc:chgData name="Wang, Timothy J." userId="be135309-baa1-4715-99f0-6a1745de2ef7" providerId="ADAL" clId="{EA2B5DDF-993D-44BF-B224-086230859426}" dt="2023-12-08T07:56:27.015" v="203" actId="47"/>
        <pc:sldMkLst>
          <pc:docMk/>
          <pc:sldMk cId="1934722111" sldId="2147472167"/>
        </pc:sldMkLst>
      </pc:sldChg>
      <pc:sldChg chg="del">
        <pc:chgData name="Wang, Timothy J." userId="be135309-baa1-4715-99f0-6a1745de2ef7" providerId="ADAL" clId="{EA2B5DDF-993D-44BF-B224-086230859426}" dt="2023-12-08T07:56:30.287" v="204" actId="47"/>
        <pc:sldMkLst>
          <pc:docMk/>
          <pc:sldMk cId="1520017510" sldId="2147472168"/>
        </pc:sldMkLst>
      </pc:sldChg>
      <pc:sldChg chg="addSp delSp modSp new mod modClrScheme chgLayout">
        <pc:chgData name="Wang, Timothy J." userId="be135309-baa1-4715-99f0-6a1745de2ef7" providerId="ADAL" clId="{EA2B5DDF-993D-44BF-B224-086230859426}" dt="2023-12-11T02:06:21.053" v="3868"/>
        <pc:sldMkLst>
          <pc:docMk/>
          <pc:sldMk cId="352827835" sldId="2147472169"/>
        </pc:sldMkLst>
        <pc:spChg chg="del mod ord">
          <ac:chgData name="Wang, Timothy J." userId="be135309-baa1-4715-99f0-6a1745de2ef7" providerId="ADAL" clId="{EA2B5DDF-993D-44BF-B224-086230859426}" dt="2023-12-08T07:55:25.079" v="201" actId="478"/>
          <ac:spMkLst>
            <pc:docMk/>
            <pc:sldMk cId="352827835" sldId="2147472169"/>
            <ac:spMk id="2" creationId="{2A2076F9-2703-3601-E21E-432011B50D66}"/>
          </ac:spMkLst>
        </pc:spChg>
        <pc:spChg chg="del">
          <ac:chgData name="Wang, Timothy J." userId="be135309-baa1-4715-99f0-6a1745de2ef7" providerId="ADAL" clId="{EA2B5DDF-993D-44BF-B224-086230859426}" dt="2023-12-08T07:27:51.224" v="20"/>
          <ac:spMkLst>
            <pc:docMk/>
            <pc:sldMk cId="352827835" sldId="2147472169"/>
            <ac:spMk id="3" creationId="{26057E1F-81B1-36F3-90D2-493D5DAF2906}"/>
          </ac:spMkLst>
        </pc:spChg>
        <pc:spChg chg="del">
          <ac:chgData name="Wang, Timothy J." userId="be135309-baa1-4715-99f0-6a1745de2ef7" providerId="ADAL" clId="{EA2B5DDF-993D-44BF-B224-086230859426}" dt="2023-12-08T07:27:51.224" v="20"/>
          <ac:spMkLst>
            <pc:docMk/>
            <pc:sldMk cId="352827835" sldId="2147472169"/>
            <ac:spMk id="4" creationId="{302A047F-993D-B147-D6E9-F19E0663ACDF}"/>
          </ac:spMkLst>
        </pc:spChg>
        <pc:spChg chg="add del mod">
          <ac:chgData name="Wang, Timothy J." userId="be135309-baa1-4715-99f0-6a1745de2ef7" providerId="ADAL" clId="{EA2B5DDF-993D-44BF-B224-086230859426}" dt="2023-12-08T07:27:51.224" v="20"/>
          <ac:spMkLst>
            <pc:docMk/>
            <pc:sldMk cId="352827835" sldId="2147472169"/>
            <ac:spMk id="5" creationId="{F31305EC-C1A7-C27C-5A85-68F0026E74B2}"/>
          </ac:spMkLst>
        </pc:spChg>
        <pc:spChg chg="add del mod">
          <ac:chgData name="Wang, Timothy J." userId="be135309-baa1-4715-99f0-6a1745de2ef7" providerId="ADAL" clId="{EA2B5DDF-993D-44BF-B224-086230859426}" dt="2023-12-08T07:27:59.562" v="21" actId="700"/>
          <ac:spMkLst>
            <pc:docMk/>
            <pc:sldMk cId="352827835" sldId="2147472169"/>
            <ac:spMk id="6" creationId="{813DF601-81E9-0207-89DB-EF84DC199CBD}"/>
          </ac:spMkLst>
        </pc:spChg>
        <pc:spChg chg="add del mod ord">
          <ac:chgData name="Wang, Timothy J." userId="be135309-baa1-4715-99f0-6a1745de2ef7" providerId="ADAL" clId="{EA2B5DDF-993D-44BF-B224-086230859426}" dt="2023-12-08T07:27:59.562" v="21" actId="700"/>
          <ac:spMkLst>
            <pc:docMk/>
            <pc:sldMk cId="352827835" sldId="2147472169"/>
            <ac:spMk id="7" creationId="{91BC8CDC-5682-8F60-168F-994AC136B98E}"/>
          </ac:spMkLst>
        </pc:spChg>
        <pc:spChg chg="add mod ord">
          <ac:chgData name="Wang, Timothy J." userId="be135309-baa1-4715-99f0-6a1745de2ef7" providerId="ADAL" clId="{EA2B5DDF-993D-44BF-B224-086230859426}" dt="2023-12-08T07:54:33.448" v="193"/>
          <ac:spMkLst>
            <pc:docMk/>
            <pc:sldMk cId="352827835" sldId="2147472169"/>
            <ac:spMk id="8" creationId="{5DB9AC31-7037-25CF-6D81-1520C550D85B}"/>
          </ac:spMkLst>
        </pc:spChg>
        <pc:spChg chg="add del mod ord">
          <ac:chgData name="Wang, Timothy J." userId="be135309-baa1-4715-99f0-6a1745de2ef7" providerId="ADAL" clId="{EA2B5DDF-993D-44BF-B224-086230859426}" dt="2023-12-08T07:52:45.317" v="52" actId="478"/>
          <ac:spMkLst>
            <pc:docMk/>
            <pc:sldMk cId="352827835" sldId="2147472169"/>
            <ac:spMk id="9" creationId="{2E24210C-D1C8-2EE0-666C-3EF16F2AE4E7}"/>
          </ac:spMkLst>
        </pc:spChg>
        <pc:spChg chg="add mod">
          <ac:chgData name="Wang, Timothy J." userId="be135309-baa1-4715-99f0-6a1745de2ef7" providerId="ADAL" clId="{EA2B5DDF-993D-44BF-B224-086230859426}" dt="2023-12-11T02:06:21.053" v="3868"/>
          <ac:spMkLst>
            <pc:docMk/>
            <pc:sldMk cId="352827835" sldId="2147472169"/>
            <ac:spMk id="10" creationId="{9CD6A8F2-62CB-298B-E755-2E4726DA41A8}"/>
          </ac:spMkLst>
        </pc:spChg>
      </pc:sldChg>
      <pc:sldChg chg="modSp add mod">
        <pc:chgData name="Wang, Timothy J." userId="be135309-baa1-4715-99f0-6a1745de2ef7" providerId="ADAL" clId="{EA2B5DDF-993D-44BF-B224-086230859426}" dt="2023-12-08T07:57:16.510" v="206"/>
        <pc:sldMkLst>
          <pc:docMk/>
          <pc:sldMk cId="3701030537" sldId="2147472170"/>
        </pc:sldMkLst>
        <pc:spChg chg="mod">
          <ac:chgData name="Wang, Timothy J." userId="be135309-baa1-4715-99f0-6a1745de2ef7" providerId="ADAL" clId="{EA2B5DDF-993D-44BF-B224-086230859426}" dt="2023-12-08T07:57:16.510" v="206"/>
          <ac:spMkLst>
            <pc:docMk/>
            <pc:sldMk cId="3701030537" sldId="2147472170"/>
            <ac:spMk id="5" creationId="{5082B48D-CD84-E2D2-78F1-22D1867BC77B}"/>
          </ac:spMkLst>
        </pc:spChg>
      </pc:sldChg>
      <pc:sldChg chg="modSp add mod">
        <pc:chgData name="Wang, Timothy J." userId="be135309-baa1-4715-99f0-6a1745de2ef7" providerId="ADAL" clId="{EA2B5DDF-993D-44BF-B224-086230859426}" dt="2023-12-08T08:07:02.867" v="223" actId="5793"/>
        <pc:sldMkLst>
          <pc:docMk/>
          <pc:sldMk cId="3494993893" sldId="2147472171"/>
        </pc:sldMkLst>
        <pc:spChg chg="mod">
          <ac:chgData name="Wang, Timothy J." userId="be135309-baa1-4715-99f0-6a1745de2ef7" providerId="ADAL" clId="{EA2B5DDF-993D-44BF-B224-086230859426}" dt="2023-12-08T08:07:02.867" v="223" actId="5793"/>
          <ac:spMkLst>
            <pc:docMk/>
            <pc:sldMk cId="3494993893" sldId="2147472171"/>
            <ac:spMk id="5" creationId="{5082B48D-CD84-E2D2-78F1-22D1867BC77B}"/>
          </ac:spMkLst>
        </pc:spChg>
      </pc:sldChg>
      <pc:sldChg chg="add modTransition">
        <pc:chgData name="Wang, Timothy J." userId="be135309-baa1-4715-99f0-6a1745de2ef7" providerId="ADAL" clId="{EA2B5DDF-993D-44BF-B224-086230859426}" dt="2023-12-11T02:41:37.698" v="3987"/>
        <pc:sldMkLst>
          <pc:docMk/>
          <pc:sldMk cId="2287366223" sldId="2147472172"/>
        </pc:sldMkLst>
      </pc:sldChg>
      <pc:sldChg chg="addSp delSp modSp new mod modTransition">
        <pc:chgData name="Wang, Timothy J." userId="be135309-baa1-4715-99f0-6a1745de2ef7" providerId="ADAL" clId="{EA2B5DDF-993D-44BF-B224-086230859426}" dt="2023-12-11T02:41:37.699" v="3988"/>
        <pc:sldMkLst>
          <pc:docMk/>
          <pc:sldMk cId="1684978749" sldId="2147472173"/>
        </pc:sldMkLst>
        <pc:spChg chg="del">
          <ac:chgData name="Wang, Timothy J." userId="be135309-baa1-4715-99f0-6a1745de2ef7" providerId="ADAL" clId="{EA2B5DDF-993D-44BF-B224-086230859426}" dt="2023-12-08T08:07:44.353" v="227" actId="478"/>
          <ac:spMkLst>
            <pc:docMk/>
            <pc:sldMk cId="1684978749" sldId="2147472173"/>
            <ac:spMk id="2" creationId="{C4F5A0DA-8D70-573A-4B1F-B7C81ABBA8F5}"/>
          </ac:spMkLst>
        </pc:spChg>
        <pc:spChg chg="del">
          <ac:chgData name="Wang, Timothy J." userId="be135309-baa1-4715-99f0-6a1745de2ef7" providerId="ADAL" clId="{EA2B5DDF-993D-44BF-B224-086230859426}" dt="2023-12-08T08:07:45.482" v="228" actId="478"/>
          <ac:spMkLst>
            <pc:docMk/>
            <pc:sldMk cId="1684978749" sldId="2147472173"/>
            <ac:spMk id="3" creationId="{C992B791-861E-67CB-D627-BCEA541CADB4}"/>
          </ac:spMkLst>
        </pc:spChg>
        <pc:spChg chg="add mod">
          <ac:chgData name="Wang, Timothy J." userId="be135309-baa1-4715-99f0-6a1745de2ef7" providerId="ADAL" clId="{EA2B5DDF-993D-44BF-B224-086230859426}" dt="2023-12-08T08:07:41.837" v="226"/>
          <ac:spMkLst>
            <pc:docMk/>
            <pc:sldMk cId="1684978749" sldId="2147472173"/>
            <ac:spMk id="4" creationId="{5C1CDC1A-D4B7-CE9C-77F5-DB76A9BAF983}"/>
          </ac:spMkLst>
        </pc:spChg>
        <pc:spChg chg="mod">
          <ac:chgData name="Wang, Timothy J." userId="be135309-baa1-4715-99f0-6a1745de2ef7" providerId="ADAL" clId="{EA2B5DDF-993D-44BF-B224-086230859426}" dt="2023-12-08T08:08:03.188" v="230" actId="1076"/>
          <ac:spMkLst>
            <pc:docMk/>
            <pc:sldMk cId="1684978749" sldId="2147472173"/>
            <ac:spMk id="6" creationId="{76D45A27-8466-7C70-5DA5-31100CDC7C5A}"/>
          </ac:spMkLst>
        </pc:spChg>
        <pc:spChg chg="mod">
          <ac:chgData name="Wang, Timothy J." userId="be135309-baa1-4715-99f0-6a1745de2ef7" providerId="ADAL" clId="{EA2B5DDF-993D-44BF-B224-086230859426}" dt="2023-12-08T08:08:03.188" v="230" actId="1076"/>
          <ac:spMkLst>
            <pc:docMk/>
            <pc:sldMk cId="1684978749" sldId="2147472173"/>
            <ac:spMk id="7" creationId="{D1ECDD1F-419B-009B-2A01-2C95A48C16BD}"/>
          </ac:spMkLst>
        </pc:spChg>
        <pc:spChg chg="mod">
          <ac:chgData name="Wang, Timothy J." userId="be135309-baa1-4715-99f0-6a1745de2ef7" providerId="ADAL" clId="{EA2B5DDF-993D-44BF-B224-086230859426}" dt="2023-12-08T08:08:03.188" v="230" actId="1076"/>
          <ac:spMkLst>
            <pc:docMk/>
            <pc:sldMk cId="1684978749" sldId="2147472173"/>
            <ac:spMk id="8" creationId="{086C1CB2-14C8-B061-88EE-5708B54222DE}"/>
          </ac:spMkLst>
        </pc:spChg>
        <pc:spChg chg="mod">
          <ac:chgData name="Wang, Timothy J." userId="be135309-baa1-4715-99f0-6a1745de2ef7" providerId="ADAL" clId="{EA2B5DDF-993D-44BF-B224-086230859426}" dt="2023-12-08T08:08:03.188" v="230" actId="1076"/>
          <ac:spMkLst>
            <pc:docMk/>
            <pc:sldMk cId="1684978749" sldId="2147472173"/>
            <ac:spMk id="10" creationId="{3C340A2D-4BE4-1287-D851-349362C139CA}"/>
          </ac:spMkLst>
        </pc:spChg>
        <pc:spChg chg="mod">
          <ac:chgData name="Wang, Timothy J." userId="be135309-baa1-4715-99f0-6a1745de2ef7" providerId="ADAL" clId="{EA2B5DDF-993D-44BF-B224-086230859426}" dt="2023-12-08T08:08:03.188" v="230" actId="1076"/>
          <ac:spMkLst>
            <pc:docMk/>
            <pc:sldMk cId="1684978749" sldId="2147472173"/>
            <ac:spMk id="11" creationId="{9B3A1D24-D0A0-27BB-6716-0115F6A2734E}"/>
          </ac:spMkLst>
        </pc:spChg>
        <pc:spChg chg="mod">
          <ac:chgData name="Wang, Timothy J." userId="be135309-baa1-4715-99f0-6a1745de2ef7" providerId="ADAL" clId="{EA2B5DDF-993D-44BF-B224-086230859426}" dt="2023-12-08T08:08:03.188" v="230" actId="1076"/>
          <ac:spMkLst>
            <pc:docMk/>
            <pc:sldMk cId="1684978749" sldId="2147472173"/>
            <ac:spMk id="12" creationId="{FF26FFFD-D306-E1B9-B501-EE848AE94D38}"/>
          </ac:spMkLst>
        </pc:spChg>
        <pc:spChg chg="mod">
          <ac:chgData name="Wang, Timothy J." userId="be135309-baa1-4715-99f0-6a1745de2ef7" providerId="ADAL" clId="{EA2B5DDF-993D-44BF-B224-086230859426}" dt="2023-12-08T08:08:03.188" v="230" actId="1076"/>
          <ac:spMkLst>
            <pc:docMk/>
            <pc:sldMk cId="1684978749" sldId="2147472173"/>
            <ac:spMk id="14" creationId="{23CF16F5-F9E4-1CA4-5D89-9E69EAF1D02E}"/>
          </ac:spMkLst>
        </pc:spChg>
        <pc:spChg chg="mod">
          <ac:chgData name="Wang, Timothy J." userId="be135309-baa1-4715-99f0-6a1745de2ef7" providerId="ADAL" clId="{EA2B5DDF-993D-44BF-B224-086230859426}" dt="2023-12-08T08:08:03.188" v="230" actId="1076"/>
          <ac:spMkLst>
            <pc:docMk/>
            <pc:sldMk cId="1684978749" sldId="2147472173"/>
            <ac:spMk id="15" creationId="{EC7FD453-98C5-9948-A645-8B8BE8EC8901}"/>
          </ac:spMkLst>
        </pc:spChg>
        <pc:spChg chg="mod">
          <ac:chgData name="Wang, Timothy J." userId="be135309-baa1-4715-99f0-6a1745de2ef7" providerId="ADAL" clId="{EA2B5DDF-993D-44BF-B224-086230859426}" dt="2023-12-08T08:08:03.188" v="230" actId="1076"/>
          <ac:spMkLst>
            <pc:docMk/>
            <pc:sldMk cId="1684978749" sldId="2147472173"/>
            <ac:spMk id="16" creationId="{E5A062E7-DEA1-7A95-3823-17D50A7EC04C}"/>
          </ac:spMkLst>
        </pc:spChg>
        <pc:spChg chg="mod">
          <ac:chgData name="Wang, Timothy J." userId="be135309-baa1-4715-99f0-6a1745de2ef7" providerId="ADAL" clId="{EA2B5DDF-993D-44BF-B224-086230859426}" dt="2023-12-08T08:08:03.188" v="230" actId="1076"/>
          <ac:spMkLst>
            <pc:docMk/>
            <pc:sldMk cId="1684978749" sldId="2147472173"/>
            <ac:spMk id="18" creationId="{4276F6A0-BB96-AA7E-213B-A940A8D33D2D}"/>
          </ac:spMkLst>
        </pc:spChg>
        <pc:spChg chg="mod">
          <ac:chgData name="Wang, Timothy J." userId="be135309-baa1-4715-99f0-6a1745de2ef7" providerId="ADAL" clId="{EA2B5DDF-993D-44BF-B224-086230859426}" dt="2023-12-08T08:08:03.188" v="230" actId="1076"/>
          <ac:spMkLst>
            <pc:docMk/>
            <pc:sldMk cId="1684978749" sldId="2147472173"/>
            <ac:spMk id="19" creationId="{A2BFDB21-5BDA-4CD3-CD6E-11B0DD20DCB0}"/>
          </ac:spMkLst>
        </pc:spChg>
        <pc:spChg chg="mod">
          <ac:chgData name="Wang, Timothy J." userId="be135309-baa1-4715-99f0-6a1745de2ef7" providerId="ADAL" clId="{EA2B5DDF-993D-44BF-B224-086230859426}" dt="2023-12-08T08:08:03.188" v="230" actId="1076"/>
          <ac:spMkLst>
            <pc:docMk/>
            <pc:sldMk cId="1684978749" sldId="2147472173"/>
            <ac:spMk id="20" creationId="{6D61303B-FD71-4562-648A-5E2421E1CBBF}"/>
          </ac:spMkLst>
        </pc:spChg>
        <pc:spChg chg="mod">
          <ac:chgData name="Wang, Timothy J." userId="be135309-baa1-4715-99f0-6a1745de2ef7" providerId="ADAL" clId="{EA2B5DDF-993D-44BF-B224-086230859426}" dt="2023-12-08T08:08:03.188" v="230" actId="1076"/>
          <ac:spMkLst>
            <pc:docMk/>
            <pc:sldMk cId="1684978749" sldId="2147472173"/>
            <ac:spMk id="22" creationId="{5EA8F778-E032-750D-A0B7-2FA689F68D0F}"/>
          </ac:spMkLst>
        </pc:spChg>
        <pc:spChg chg="mod">
          <ac:chgData name="Wang, Timothy J." userId="be135309-baa1-4715-99f0-6a1745de2ef7" providerId="ADAL" clId="{EA2B5DDF-993D-44BF-B224-086230859426}" dt="2023-12-08T08:08:03.188" v="230" actId="1076"/>
          <ac:spMkLst>
            <pc:docMk/>
            <pc:sldMk cId="1684978749" sldId="2147472173"/>
            <ac:spMk id="23" creationId="{82E5358E-B6CE-8A08-E7B1-44FCB28A1D75}"/>
          </ac:spMkLst>
        </pc:spChg>
        <pc:spChg chg="mod">
          <ac:chgData name="Wang, Timothy J." userId="be135309-baa1-4715-99f0-6a1745de2ef7" providerId="ADAL" clId="{EA2B5DDF-993D-44BF-B224-086230859426}" dt="2023-12-08T08:08:03.188" v="230" actId="1076"/>
          <ac:spMkLst>
            <pc:docMk/>
            <pc:sldMk cId="1684978749" sldId="2147472173"/>
            <ac:spMk id="25" creationId="{FA14DD3B-9F84-F9E7-3B8E-1580F5F5EE83}"/>
          </ac:spMkLst>
        </pc:spChg>
        <pc:spChg chg="mod">
          <ac:chgData name="Wang, Timothy J." userId="be135309-baa1-4715-99f0-6a1745de2ef7" providerId="ADAL" clId="{EA2B5DDF-993D-44BF-B224-086230859426}" dt="2023-12-08T08:08:03.188" v="230" actId="1076"/>
          <ac:spMkLst>
            <pc:docMk/>
            <pc:sldMk cId="1684978749" sldId="2147472173"/>
            <ac:spMk id="26" creationId="{EA18F415-CC56-5C08-3B86-AC7272718EF5}"/>
          </ac:spMkLst>
        </pc:spChg>
        <pc:spChg chg="mod">
          <ac:chgData name="Wang, Timothy J." userId="be135309-baa1-4715-99f0-6a1745de2ef7" providerId="ADAL" clId="{EA2B5DDF-993D-44BF-B224-086230859426}" dt="2023-12-08T08:08:03.188" v="230" actId="1076"/>
          <ac:spMkLst>
            <pc:docMk/>
            <pc:sldMk cId="1684978749" sldId="2147472173"/>
            <ac:spMk id="28" creationId="{F9FD660C-A775-F2E5-8B22-F887EF8623AF}"/>
          </ac:spMkLst>
        </pc:spChg>
        <pc:spChg chg="mod">
          <ac:chgData name="Wang, Timothy J." userId="be135309-baa1-4715-99f0-6a1745de2ef7" providerId="ADAL" clId="{EA2B5DDF-993D-44BF-B224-086230859426}" dt="2023-12-08T08:08:03.188" v="230" actId="1076"/>
          <ac:spMkLst>
            <pc:docMk/>
            <pc:sldMk cId="1684978749" sldId="2147472173"/>
            <ac:spMk id="29" creationId="{C374C355-B607-D6C1-B547-D520ADA5A265}"/>
          </ac:spMkLst>
        </pc:spChg>
        <pc:spChg chg="add mod">
          <ac:chgData name="Wang, Timothy J." userId="be135309-baa1-4715-99f0-6a1745de2ef7" providerId="ADAL" clId="{EA2B5DDF-993D-44BF-B224-086230859426}" dt="2023-12-08T08:08:03.188" v="230" actId="1076"/>
          <ac:spMkLst>
            <pc:docMk/>
            <pc:sldMk cId="1684978749" sldId="2147472173"/>
            <ac:spMk id="30" creationId="{36564695-3D79-28D3-A279-0926BBB3D6DF}"/>
          </ac:spMkLst>
        </pc:spChg>
        <pc:spChg chg="add mod ord">
          <ac:chgData name="Wang, Timothy J." userId="be135309-baa1-4715-99f0-6a1745de2ef7" providerId="ADAL" clId="{EA2B5DDF-993D-44BF-B224-086230859426}" dt="2023-12-08T08:20:18.776" v="352" actId="14100"/>
          <ac:spMkLst>
            <pc:docMk/>
            <pc:sldMk cId="1684978749" sldId="2147472173"/>
            <ac:spMk id="32" creationId="{868C92A6-1872-D166-E7FC-D4D72616690D}"/>
          </ac:spMkLst>
        </pc:spChg>
        <pc:spChg chg="add mod">
          <ac:chgData name="Wang, Timothy J." userId="be135309-baa1-4715-99f0-6a1745de2ef7" providerId="ADAL" clId="{EA2B5DDF-993D-44BF-B224-086230859426}" dt="2023-12-08T08:23:21.490" v="565" actId="1076"/>
          <ac:spMkLst>
            <pc:docMk/>
            <pc:sldMk cId="1684978749" sldId="2147472173"/>
            <ac:spMk id="33" creationId="{A655A5EC-372F-6494-4088-FDF50037950A}"/>
          </ac:spMkLst>
        </pc:spChg>
        <pc:spChg chg="add mod">
          <ac:chgData name="Wang, Timothy J." userId="be135309-baa1-4715-99f0-6a1745de2ef7" providerId="ADAL" clId="{EA2B5DDF-993D-44BF-B224-086230859426}" dt="2023-12-08T08:23:14.426" v="563" actId="1076"/>
          <ac:spMkLst>
            <pc:docMk/>
            <pc:sldMk cId="1684978749" sldId="2147472173"/>
            <ac:spMk id="34" creationId="{D4B5F70A-1C6D-D806-F2F3-1B575DBA1D9E}"/>
          </ac:spMkLst>
        </pc:spChg>
        <pc:spChg chg="add del mod">
          <ac:chgData name="Wang, Timothy J." userId="be135309-baa1-4715-99f0-6a1745de2ef7" providerId="ADAL" clId="{EA2B5DDF-993D-44BF-B224-086230859426}" dt="2023-12-08T08:27:29.237" v="578" actId="478"/>
          <ac:spMkLst>
            <pc:docMk/>
            <pc:sldMk cId="1684978749" sldId="2147472173"/>
            <ac:spMk id="35" creationId="{B905720A-D2DC-0DDF-93E2-DC4626A72FE6}"/>
          </ac:spMkLst>
        </pc:spChg>
        <pc:spChg chg="add mod">
          <ac:chgData name="Wang, Timothy J." userId="be135309-baa1-4715-99f0-6a1745de2ef7" providerId="ADAL" clId="{EA2B5DDF-993D-44BF-B224-086230859426}" dt="2023-12-08T08:48:19.531" v="1005" actId="14100"/>
          <ac:spMkLst>
            <pc:docMk/>
            <pc:sldMk cId="1684978749" sldId="2147472173"/>
            <ac:spMk id="36" creationId="{AB9D2297-EC8D-484A-3F63-511724DFFE0E}"/>
          </ac:spMkLst>
        </pc:spChg>
        <pc:spChg chg="add mod">
          <ac:chgData name="Wang, Timothy J." userId="be135309-baa1-4715-99f0-6a1745de2ef7" providerId="ADAL" clId="{EA2B5DDF-993D-44BF-B224-086230859426}" dt="2023-12-08T08:48:14.201" v="1004" actId="14100"/>
          <ac:spMkLst>
            <pc:docMk/>
            <pc:sldMk cId="1684978749" sldId="2147472173"/>
            <ac:spMk id="37" creationId="{55F7F417-9CBF-3070-8B4A-8B2F7756AAE6}"/>
          </ac:spMkLst>
        </pc:spChg>
        <pc:spChg chg="add mod">
          <ac:chgData name="Wang, Timothy J." userId="be135309-baa1-4715-99f0-6a1745de2ef7" providerId="ADAL" clId="{EA2B5DDF-993D-44BF-B224-086230859426}" dt="2023-12-08T08:28:10.023" v="609" actId="14100"/>
          <ac:spMkLst>
            <pc:docMk/>
            <pc:sldMk cId="1684978749" sldId="2147472173"/>
            <ac:spMk id="38" creationId="{FBF9F5FF-1279-79B5-8873-72FC0B07B4F5}"/>
          </ac:spMkLst>
        </pc:spChg>
        <pc:grpChg chg="add mod">
          <ac:chgData name="Wang, Timothy J." userId="be135309-baa1-4715-99f0-6a1745de2ef7" providerId="ADAL" clId="{EA2B5DDF-993D-44BF-B224-086230859426}" dt="2023-12-08T08:08:03.188" v="230" actId="1076"/>
          <ac:grpSpMkLst>
            <pc:docMk/>
            <pc:sldMk cId="1684978749" sldId="2147472173"/>
            <ac:grpSpMk id="5" creationId="{39315A3E-7CA7-33C6-83DB-0ACF9BE079A5}"/>
          </ac:grpSpMkLst>
        </pc:grpChg>
        <pc:grpChg chg="add mod">
          <ac:chgData name="Wang, Timothy J." userId="be135309-baa1-4715-99f0-6a1745de2ef7" providerId="ADAL" clId="{EA2B5DDF-993D-44BF-B224-086230859426}" dt="2023-12-08T08:08:03.188" v="230" actId="1076"/>
          <ac:grpSpMkLst>
            <pc:docMk/>
            <pc:sldMk cId="1684978749" sldId="2147472173"/>
            <ac:grpSpMk id="9" creationId="{5938EF15-3D4A-00CF-F430-C770A724EFEB}"/>
          </ac:grpSpMkLst>
        </pc:grpChg>
        <pc:grpChg chg="add mod">
          <ac:chgData name="Wang, Timothy J." userId="be135309-baa1-4715-99f0-6a1745de2ef7" providerId="ADAL" clId="{EA2B5DDF-993D-44BF-B224-086230859426}" dt="2023-12-08T08:08:03.188" v="230" actId="1076"/>
          <ac:grpSpMkLst>
            <pc:docMk/>
            <pc:sldMk cId="1684978749" sldId="2147472173"/>
            <ac:grpSpMk id="13" creationId="{052EDD01-699A-C043-18A3-2FB98FCCC539}"/>
          </ac:grpSpMkLst>
        </pc:grpChg>
        <pc:grpChg chg="add mod">
          <ac:chgData name="Wang, Timothy J." userId="be135309-baa1-4715-99f0-6a1745de2ef7" providerId="ADAL" clId="{EA2B5DDF-993D-44BF-B224-086230859426}" dt="2023-12-08T08:08:03.188" v="230" actId="1076"/>
          <ac:grpSpMkLst>
            <pc:docMk/>
            <pc:sldMk cId="1684978749" sldId="2147472173"/>
            <ac:grpSpMk id="17" creationId="{BFFC4B47-8C11-6789-0580-930B2265F71E}"/>
          </ac:grpSpMkLst>
        </pc:grpChg>
        <pc:grpChg chg="add mod">
          <ac:chgData name="Wang, Timothy J." userId="be135309-baa1-4715-99f0-6a1745de2ef7" providerId="ADAL" clId="{EA2B5DDF-993D-44BF-B224-086230859426}" dt="2023-12-08T08:08:03.188" v="230" actId="1076"/>
          <ac:grpSpMkLst>
            <pc:docMk/>
            <pc:sldMk cId="1684978749" sldId="2147472173"/>
            <ac:grpSpMk id="21" creationId="{677D4D93-F7D5-4F65-4E69-6D56A6DC3D61}"/>
          </ac:grpSpMkLst>
        </pc:grpChg>
        <pc:grpChg chg="add mod">
          <ac:chgData name="Wang, Timothy J." userId="be135309-baa1-4715-99f0-6a1745de2ef7" providerId="ADAL" clId="{EA2B5DDF-993D-44BF-B224-086230859426}" dt="2023-12-08T08:08:03.188" v="230" actId="1076"/>
          <ac:grpSpMkLst>
            <pc:docMk/>
            <pc:sldMk cId="1684978749" sldId="2147472173"/>
            <ac:grpSpMk id="24" creationId="{E2A5B700-10EC-6F72-DEA9-2A534450C22F}"/>
          </ac:grpSpMkLst>
        </pc:grpChg>
        <pc:grpChg chg="add mod">
          <ac:chgData name="Wang, Timothy J." userId="be135309-baa1-4715-99f0-6a1745de2ef7" providerId="ADAL" clId="{EA2B5DDF-993D-44BF-B224-086230859426}" dt="2023-12-08T08:08:03.188" v="230" actId="1076"/>
          <ac:grpSpMkLst>
            <pc:docMk/>
            <pc:sldMk cId="1684978749" sldId="2147472173"/>
            <ac:grpSpMk id="27" creationId="{596FDA89-84CF-F840-22CB-9286EB888FFC}"/>
          </ac:grpSpMkLst>
        </pc:grpChg>
        <pc:graphicFrameChg chg="add mod modGraphic">
          <ac:chgData name="Wang, Timothy J." userId="be135309-baa1-4715-99f0-6a1745de2ef7" providerId="ADAL" clId="{EA2B5DDF-993D-44BF-B224-086230859426}" dt="2023-12-08T08:20:14.130" v="351" actId="14100"/>
          <ac:graphicFrameMkLst>
            <pc:docMk/>
            <pc:sldMk cId="1684978749" sldId="2147472173"/>
            <ac:graphicFrameMk id="31" creationId="{A8B097A7-980B-4320-3080-A40B8841A5C9}"/>
          </ac:graphicFrameMkLst>
        </pc:graphicFrameChg>
      </pc:sldChg>
      <pc:sldChg chg="delSp add del mod">
        <pc:chgData name="Wang, Timothy J." userId="be135309-baa1-4715-99f0-6a1745de2ef7" providerId="ADAL" clId="{EA2B5DDF-993D-44BF-B224-086230859426}" dt="2023-12-08T08:28:29.517" v="614" actId="47"/>
        <pc:sldMkLst>
          <pc:docMk/>
          <pc:sldMk cId="3135833334" sldId="2147472174"/>
        </pc:sldMkLst>
        <pc:spChg chg="del">
          <ac:chgData name="Wang, Timothy J." userId="be135309-baa1-4715-99f0-6a1745de2ef7" providerId="ADAL" clId="{EA2B5DDF-993D-44BF-B224-086230859426}" dt="2023-12-08T08:26:51.890" v="574" actId="478"/>
          <ac:spMkLst>
            <pc:docMk/>
            <pc:sldMk cId="3135833334" sldId="2147472174"/>
            <ac:spMk id="32" creationId="{868C92A6-1872-D166-E7FC-D4D72616690D}"/>
          </ac:spMkLst>
        </pc:spChg>
        <pc:spChg chg="del">
          <ac:chgData name="Wang, Timothy J." userId="be135309-baa1-4715-99f0-6a1745de2ef7" providerId="ADAL" clId="{EA2B5DDF-993D-44BF-B224-086230859426}" dt="2023-12-08T08:26:51.403" v="573" actId="478"/>
          <ac:spMkLst>
            <pc:docMk/>
            <pc:sldMk cId="3135833334" sldId="2147472174"/>
            <ac:spMk id="33" creationId="{A655A5EC-372F-6494-4088-FDF50037950A}"/>
          </ac:spMkLst>
        </pc:spChg>
        <pc:spChg chg="del">
          <ac:chgData name="Wang, Timothy J." userId="be135309-baa1-4715-99f0-6a1745de2ef7" providerId="ADAL" clId="{EA2B5DDF-993D-44BF-B224-086230859426}" dt="2023-12-08T08:26:53.402" v="575" actId="478"/>
          <ac:spMkLst>
            <pc:docMk/>
            <pc:sldMk cId="3135833334" sldId="2147472174"/>
            <ac:spMk id="34" creationId="{D4B5F70A-1C6D-D806-F2F3-1B575DBA1D9E}"/>
          </ac:spMkLst>
        </pc:spChg>
        <pc:graphicFrameChg chg="del">
          <ac:chgData name="Wang, Timothy J." userId="be135309-baa1-4715-99f0-6a1745de2ef7" providerId="ADAL" clId="{EA2B5DDF-993D-44BF-B224-086230859426}" dt="2023-12-08T08:26:50.384" v="572" actId="478"/>
          <ac:graphicFrameMkLst>
            <pc:docMk/>
            <pc:sldMk cId="3135833334" sldId="2147472174"/>
            <ac:graphicFrameMk id="31" creationId="{A8B097A7-980B-4320-3080-A40B8841A5C9}"/>
          </ac:graphicFrameMkLst>
        </pc:graphicFrameChg>
      </pc:sldChg>
      <pc:sldChg chg="addSp delSp modSp add mod modTransition">
        <pc:chgData name="Wang, Timothy J." userId="be135309-baa1-4715-99f0-6a1745de2ef7" providerId="ADAL" clId="{EA2B5DDF-993D-44BF-B224-086230859426}" dt="2023-12-11T02:41:37.717" v="3989"/>
        <pc:sldMkLst>
          <pc:docMk/>
          <pc:sldMk cId="3329904382" sldId="2147472175"/>
        </pc:sldMkLst>
        <pc:spChg chg="add mod">
          <ac:chgData name="Wang, Timothy J." userId="be135309-baa1-4715-99f0-6a1745de2ef7" providerId="ADAL" clId="{EA2B5DDF-993D-44BF-B224-086230859426}" dt="2023-12-10T18:25:18.813" v="2875" actId="6549"/>
          <ac:spMkLst>
            <pc:docMk/>
            <pc:sldMk cId="3329904382" sldId="2147472175"/>
            <ac:spMk id="2" creationId="{F6904995-D00B-144D-7551-7F4E1DB11CCD}"/>
          </ac:spMkLst>
        </pc:spChg>
        <pc:spChg chg="add mod">
          <ac:chgData name="Wang, Timothy J." userId="be135309-baa1-4715-99f0-6a1745de2ef7" providerId="ADAL" clId="{EA2B5DDF-993D-44BF-B224-086230859426}" dt="2023-12-10T17:29:11.173" v="1836" actId="207"/>
          <ac:spMkLst>
            <pc:docMk/>
            <pc:sldMk cId="3329904382" sldId="2147472175"/>
            <ac:spMk id="3" creationId="{DEFE86E3-6715-3938-F264-DFF37912469B}"/>
          </ac:spMkLst>
        </pc:spChg>
        <pc:spChg chg="mod">
          <ac:chgData name="Wang, Timothy J." userId="be135309-baa1-4715-99f0-6a1745de2ef7" providerId="ADAL" clId="{EA2B5DDF-993D-44BF-B224-086230859426}" dt="2023-12-08T08:36:53.694" v="650" actId="1038"/>
          <ac:spMkLst>
            <pc:docMk/>
            <pc:sldMk cId="3329904382" sldId="2147472175"/>
            <ac:spMk id="30" creationId="{36564695-3D79-28D3-A279-0926BBB3D6DF}"/>
          </ac:spMkLst>
        </pc:spChg>
        <pc:spChg chg="del">
          <ac:chgData name="Wang, Timothy J." userId="be135309-baa1-4715-99f0-6a1745de2ef7" providerId="ADAL" clId="{EA2B5DDF-993D-44BF-B224-086230859426}" dt="2023-12-08T08:28:37.330" v="618" actId="478"/>
          <ac:spMkLst>
            <pc:docMk/>
            <pc:sldMk cId="3329904382" sldId="2147472175"/>
            <ac:spMk id="32" creationId="{868C92A6-1872-D166-E7FC-D4D72616690D}"/>
          </ac:spMkLst>
        </pc:spChg>
        <pc:spChg chg="del">
          <ac:chgData name="Wang, Timothy J." userId="be135309-baa1-4715-99f0-6a1745de2ef7" providerId="ADAL" clId="{EA2B5DDF-993D-44BF-B224-086230859426}" dt="2023-12-08T08:28:36.644" v="617" actId="478"/>
          <ac:spMkLst>
            <pc:docMk/>
            <pc:sldMk cId="3329904382" sldId="2147472175"/>
            <ac:spMk id="33" creationId="{A655A5EC-372F-6494-4088-FDF50037950A}"/>
          </ac:spMkLst>
        </pc:spChg>
        <pc:spChg chg="del">
          <ac:chgData name="Wang, Timothy J." userId="be135309-baa1-4715-99f0-6a1745de2ef7" providerId="ADAL" clId="{EA2B5DDF-993D-44BF-B224-086230859426}" dt="2023-12-08T08:28:35.840" v="616" actId="478"/>
          <ac:spMkLst>
            <pc:docMk/>
            <pc:sldMk cId="3329904382" sldId="2147472175"/>
            <ac:spMk id="34" creationId="{D4B5F70A-1C6D-D806-F2F3-1B575DBA1D9E}"/>
          </ac:spMkLst>
        </pc:spChg>
        <pc:spChg chg="add mod">
          <ac:chgData name="Wang, Timothy J." userId="be135309-baa1-4715-99f0-6a1745de2ef7" providerId="ADAL" clId="{EA2B5DDF-993D-44BF-B224-086230859426}" dt="2023-12-08T08:37:07.247" v="653" actId="1076"/>
          <ac:spMkLst>
            <pc:docMk/>
            <pc:sldMk cId="3329904382" sldId="2147472175"/>
            <ac:spMk id="35" creationId="{71A753C8-C342-B0CB-875C-8EB9DF7E77EF}"/>
          </ac:spMkLst>
        </pc:spChg>
        <pc:spChg chg="mod">
          <ac:chgData name="Wang, Timothy J." userId="be135309-baa1-4715-99f0-6a1745de2ef7" providerId="ADAL" clId="{EA2B5DDF-993D-44BF-B224-086230859426}" dt="2023-12-08T08:32:14.343" v="620" actId="14100"/>
          <ac:spMkLst>
            <pc:docMk/>
            <pc:sldMk cId="3329904382" sldId="2147472175"/>
            <ac:spMk id="36" creationId="{AB9D2297-EC8D-484A-3F63-511724DFFE0E}"/>
          </ac:spMkLst>
        </pc:spChg>
        <pc:spChg chg="del mod">
          <ac:chgData name="Wang, Timothy J." userId="be135309-baa1-4715-99f0-6a1745de2ef7" providerId="ADAL" clId="{EA2B5DDF-993D-44BF-B224-086230859426}" dt="2023-12-08T08:32:45.285" v="629" actId="478"/>
          <ac:spMkLst>
            <pc:docMk/>
            <pc:sldMk cId="3329904382" sldId="2147472175"/>
            <ac:spMk id="37" creationId="{55F7F417-9CBF-3070-8B4A-8B2F7756AAE6}"/>
          </ac:spMkLst>
        </pc:spChg>
        <pc:spChg chg="add mod">
          <ac:chgData name="Wang, Timothy J." userId="be135309-baa1-4715-99f0-6a1745de2ef7" providerId="ADAL" clId="{EA2B5DDF-993D-44BF-B224-086230859426}" dt="2023-12-08T08:36:56.212" v="651" actId="1076"/>
          <ac:spMkLst>
            <pc:docMk/>
            <pc:sldMk cId="3329904382" sldId="2147472175"/>
            <ac:spMk id="39" creationId="{337DC30C-C921-0522-43B2-896C00CD3972}"/>
          </ac:spMkLst>
        </pc:spChg>
        <pc:spChg chg="add mod">
          <ac:chgData name="Wang, Timothy J." userId="be135309-baa1-4715-99f0-6a1745de2ef7" providerId="ADAL" clId="{EA2B5DDF-993D-44BF-B224-086230859426}" dt="2023-12-10T18:25:15.817" v="2873"/>
          <ac:spMkLst>
            <pc:docMk/>
            <pc:sldMk cId="3329904382" sldId="2147472175"/>
            <ac:spMk id="40" creationId="{5E0FCA99-B57B-A00A-1E45-A7876BE83891}"/>
          </ac:spMkLst>
        </pc:spChg>
        <pc:spChg chg="add mod">
          <ac:chgData name="Wang, Timothy J." userId="be135309-baa1-4715-99f0-6a1745de2ef7" providerId="ADAL" clId="{EA2B5DDF-993D-44BF-B224-086230859426}" dt="2023-12-08T08:43:01.115" v="915"/>
          <ac:spMkLst>
            <pc:docMk/>
            <pc:sldMk cId="3329904382" sldId="2147472175"/>
            <ac:spMk id="41" creationId="{8F51A5FB-453D-06DB-B998-B3D148C93489}"/>
          </ac:spMkLst>
        </pc:spChg>
        <pc:graphicFrameChg chg="del">
          <ac:chgData name="Wang, Timothy J." userId="be135309-baa1-4715-99f0-6a1745de2ef7" providerId="ADAL" clId="{EA2B5DDF-993D-44BF-B224-086230859426}" dt="2023-12-08T08:28:34.590" v="615" actId="478"/>
          <ac:graphicFrameMkLst>
            <pc:docMk/>
            <pc:sldMk cId="3329904382" sldId="2147472175"/>
            <ac:graphicFrameMk id="31" creationId="{A8B097A7-980B-4320-3080-A40B8841A5C9}"/>
          </ac:graphicFrameMkLst>
        </pc:graphicFrameChg>
      </pc:sldChg>
      <pc:sldChg chg="addSp delSp modSp add mod modTransition">
        <pc:chgData name="Wang, Timothy J." userId="be135309-baa1-4715-99f0-6a1745de2ef7" providerId="ADAL" clId="{EA2B5DDF-993D-44BF-B224-086230859426}" dt="2023-12-11T02:41:37.718" v="3990"/>
        <pc:sldMkLst>
          <pc:docMk/>
          <pc:sldMk cId="2086922025" sldId="2147472176"/>
        </pc:sldMkLst>
        <pc:spChg chg="del">
          <ac:chgData name="Wang, Timothy J." userId="be135309-baa1-4715-99f0-6a1745de2ef7" providerId="ADAL" clId="{EA2B5DDF-993D-44BF-B224-086230859426}" dt="2023-12-08T09:08:15.511" v="1109" actId="478"/>
          <ac:spMkLst>
            <pc:docMk/>
            <pc:sldMk cId="2086922025" sldId="2147472176"/>
            <ac:spMk id="2" creationId="{F6904995-D00B-144D-7551-7F4E1DB11CCD}"/>
          </ac:spMkLst>
        </pc:spChg>
        <pc:spChg chg="del">
          <ac:chgData name="Wang, Timothy J." userId="be135309-baa1-4715-99f0-6a1745de2ef7" providerId="ADAL" clId="{EA2B5DDF-993D-44BF-B224-086230859426}" dt="2023-12-08T09:08:15.511" v="1109" actId="478"/>
          <ac:spMkLst>
            <pc:docMk/>
            <pc:sldMk cId="2086922025" sldId="2147472176"/>
            <ac:spMk id="3" creationId="{DEFE86E3-6715-3938-F264-DFF37912469B}"/>
          </ac:spMkLst>
        </pc:spChg>
        <pc:spChg chg="mod">
          <ac:chgData name="Wang, Timothy J." userId="be135309-baa1-4715-99f0-6a1745de2ef7" providerId="ADAL" clId="{EA2B5DDF-993D-44BF-B224-086230859426}" dt="2023-12-08T09:16:59.386" v="1185"/>
          <ac:spMkLst>
            <pc:docMk/>
            <pc:sldMk cId="2086922025" sldId="2147472176"/>
            <ac:spMk id="4" creationId="{5C1CDC1A-D4B7-CE9C-77F5-DB76A9BAF983}"/>
          </ac:spMkLst>
        </pc:spChg>
        <pc:spChg chg="del">
          <ac:chgData name="Wang, Timothy J." userId="be135309-baa1-4715-99f0-6a1745de2ef7" providerId="ADAL" clId="{EA2B5DDF-993D-44BF-B224-086230859426}" dt="2023-12-08T09:08:15.511" v="1109" actId="478"/>
          <ac:spMkLst>
            <pc:docMk/>
            <pc:sldMk cId="2086922025" sldId="2147472176"/>
            <ac:spMk id="30" creationId="{36564695-3D79-28D3-A279-0926BBB3D6DF}"/>
          </ac:spMkLst>
        </pc:spChg>
        <pc:spChg chg="add mod">
          <ac:chgData name="Wang, Timothy J." userId="be135309-baa1-4715-99f0-6a1745de2ef7" providerId="ADAL" clId="{EA2B5DDF-993D-44BF-B224-086230859426}" dt="2023-12-10T17:27:36.994" v="1829" actId="207"/>
          <ac:spMkLst>
            <pc:docMk/>
            <pc:sldMk cId="2086922025" sldId="2147472176"/>
            <ac:spMk id="32" creationId="{F71E145B-91A7-5E1B-4EC1-F3AF0F498214}"/>
          </ac:spMkLst>
        </pc:spChg>
        <pc:spChg chg="add mod">
          <ac:chgData name="Wang, Timothy J." userId="be135309-baa1-4715-99f0-6a1745de2ef7" providerId="ADAL" clId="{EA2B5DDF-993D-44BF-B224-086230859426}" dt="2023-12-10T17:27:50.294" v="1835" actId="1035"/>
          <ac:spMkLst>
            <pc:docMk/>
            <pc:sldMk cId="2086922025" sldId="2147472176"/>
            <ac:spMk id="33" creationId="{22AD4602-619C-587A-7F85-B4CD27CEA071}"/>
          </ac:spMkLst>
        </pc:spChg>
        <pc:spChg chg="add mod">
          <ac:chgData name="Wang, Timothy J." userId="be135309-baa1-4715-99f0-6a1745de2ef7" providerId="ADAL" clId="{EA2B5DDF-993D-44BF-B224-086230859426}" dt="2023-12-10T17:27:50.294" v="1835" actId="1035"/>
          <ac:spMkLst>
            <pc:docMk/>
            <pc:sldMk cId="2086922025" sldId="2147472176"/>
            <ac:spMk id="34" creationId="{49DDFD1D-E260-71D3-DC42-B749F0E707CB}"/>
          </ac:spMkLst>
        </pc:spChg>
        <pc:spChg chg="del">
          <ac:chgData name="Wang, Timothy J." userId="be135309-baa1-4715-99f0-6a1745de2ef7" providerId="ADAL" clId="{EA2B5DDF-993D-44BF-B224-086230859426}" dt="2023-12-08T09:08:15.511" v="1109" actId="478"/>
          <ac:spMkLst>
            <pc:docMk/>
            <pc:sldMk cId="2086922025" sldId="2147472176"/>
            <ac:spMk id="35" creationId="{71A753C8-C342-B0CB-875C-8EB9DF7E77EF}"/>
          </ac:spMkLst>
        </pc:spChg>
        <pc:spChg chg="del">
          <ac:chgData name="Wang, Timothy J." userId="be135309-baa1-4715-99f0-6a1745de2ef7" providerId="ADAL" clId="{EA2B5DDF-993D-44BF-B224-086230859426}" dt="2023-12-08T09:08:19.708" v="1110" actId="478"/>
          <ac:spMkLst>
            <pc:docMk/>
            <pc:sldMk cId="2086922025" sldId="2147472176"/>
            <ac:spMk id="36" creationId="{AB9D2297-EC8D-484A-3F63-511724DFFE0E}"/>
          </ac:spMkLst>
        </pc:spChg>
        <pc:spChg chg="add mod">
          <ac:chgData name="Wang, Timothy J." userId="be135309-baa1-4715-99f0-6a1745de2ef7" providerId="ADAL" clId="{EA2B5DDF-993D-44BF-B224-086230859426}" dt="2023-12-10T17:27:50.294" v="1835" actId="1035"/>
          <ac:spMkLst>
            <pc:docMk/>
            <pc:sldMk cId="2086922025" sldId="2147472176"/>
            <ac:spMk id="37" creationId="{727650D8-F131-6DD9-E3DA-E24455409E24}"/>
          </ac:spMkLst>
        </pc:spChg>
        <pc:spChg chg="del">
          <ac:chgData name="Wang, Timothy J." userId="be135309-baa1-4715-99f0-6a1745de2ef7" providerId="ADAL" clId="{EA2B5DDF-993D-44BF-B224-086230859426}" dt="2023-12-08T09:08:19.708" v="1110" actId="478"/>
          <ac:spMkLst>
            <pc:docMk/>
            <pc:sldMk cId="2086922025" sldId="2147472176"/>
            <ac:spMk id="38" creationId="{FBF9F5FF-1279-79B5-8873-72FC0B07B4F5}"/>
          </ac:spMkLst>
        </pc:spChg>
        <pc:spChg chg="del">
          <ac:chgData name="Wang, Timothy J." userId="be135309-baa1-4715-99f0-6a1745de2ef7" providerId="ADAL" clId="{EA2B5DDF-993D-44BF-B224-086230859426}" dt="2023-12-08T09:08:15.511" v="1109" actId="478"/>
          <ac:spMkLst>
            <pc:docMk/>
            <pc:sldMk cId="2086922025" sldId="2147472176"/>
            <ac:spMk id="39" creationId="{337DC30C-C921-0522-43B2-896C00CD3972}"/>
          </ac:spMkLst>
        </pc:spChg>
        <pc:spChg chg="del">
          <ac:chgData name="Wang, Timothy J." userId="be135309-baa1-4715-99f0-6a1745de2ef7" providerId="ADAL" clId="{EA2B5DDF-993D-44BF-B224-086230859426}" dt="2023-12-08T09:08:15.511" v="1109" actId="478"/>
          <ac:spMkLst>
            <pc:docMk/>
            <pc:sldMk cId="2086922025" sldId="2147472176"/>
            <ac:spMk id="40" creationId="{5E0FCA99-B57B-A00A-1E45-A7876BE83891}"/>
          </ac:spMkLst>
        </pc:spChg>
        <pc:spChg chg="del">
          <ac:chgData name="Wang, Timothy J." userId="be135309-baa1-4715-99f0-6a1745de2ef7" providerId="ADAL" clId="{EA2B5DDF-993D-44BF-B224-086230859426}" dt="2023-12-08T09:08:15.511" v="1109" actId="478"/>
          <ac:spMkLst>
            <pc:docMk/>
            <pc:sldMk cId="2086922025" sldId="2147472176"/>
            <ac:spMk id="41" creationId="{8F51A5FB-453D-06DB-B998-B3D148C93489}"/>
          </ac:spMkLst>
        </pc:spChg>
        <pc:spChg chg="add mod">
          <ac:chgData name="Wang, Timothy J." userId="be135309-baa1-4715-99f0-6a1745de2ef7" providerId="ADAL" clId="{EA2B5DDF-993D-44BF-B224-086230859426}" dt="2023-12-10T17:27:50.294" v="1835" actId="1035"/>
          <ac:spMkLst>
            <pc:docMk/>
            <pc:sldMk cId="2086922025" sldId="2147472176"/>
            <ac:spMk id="42" creationId="{5E3CCA0C-DEC1-F6B7-493C-4347DAA4AD5F}"/>
          </ac:spMkLst>
        </pc:spChg>
        <pc:spChg chg="add mod">
          <ac:chgData name="Wang, Timothy J." userId="be135309-baa1-4715-99f0-6a1745de2ef7" providerId="ADAL" clId="{EA2B5DDF-993D-44BF-B224-086230859426}" dt="2023-12-10T17:27:50.294" v="1835" actId="1035"/>
          <ac:spMkLst>
            <pc:docMk/>
            <pc:sldMk cId="2086922025" sldId="2147472176"/>
            <ac:spMk id="43" creationId="{ABED387E-4970-4B2C-54ED-9C168CB4EFF9}"/>
          </ac:spMkLst>
        </pc:spChg>
        <pc:grpChg chg="del">
          <ac:chgData name="Wang, Timothy J." userId="be135309-baa1-4715-99f0-6a1745de2ef7" providerId="ADAL" clId="{EA2B5DDF-993D-44BF-B224-086230859426}" dt="2023-12-08T09:08:19.708" v="1110" actId="478"/>
          <ac:grpSpMkLst>
            <pc:docMk/>
            <pc:sldMk cId="2086922025" sldId="2147472176"/>
            <ac:grpSpMk id="5" creationId="{39315A3E-7CA7-33C6-83DB-0ACF9BE079A5}"/>
          </ac:grpSpMkLst>
        </pc:grpChg>
        <pc:grpChg chg="del">
          <ac:chgData name="Wang, Timothy J." userId="be135309-baa1-4715-99f0-6a1745de2ef7" providerId="ADAL" clId="{EA2B5DDF-993D-44BF-B224-086230859426}" dt="2023-12-08T09:08:19.708" v="1110" actId="478"/>
          <ac:grpSpMkLst>
            <pc:docMk/>
            <pc:sldMk cId="2086922025" sldId="2147472176"/>
            <ac:grpSpMk id="9" creationId="{5938EF15-3D4A-00CF-F430-C770A724EFEB}"/>
          </ac:grpSpMkLst>
        </pc:grpChg>
        <pc:grpChg chg="del">
          <ac:chgData name="Wang, Timothy J." userId="be135309-baa1-4715-99f0-6a1745de2ef7" providerId="ADAL" clId="{EA2B5DDF-993D-44BF-B224-086230859426}" dt="2023-12-08T09:08:19.708" v="1110" actId="478"/>
          <ac:grpSpMkLst>
            <pc:docMk/>
            <pc:sldMk cId="2086922025" sldId="2147472176"/>
            <ac:grpSpMk id="13" creationId="{052EDD01-699A-C043-18A3-2FB98FCCC539}"/>
          </ac:grpSpMkLst>
        </pc:grpChg>
        <pc:grpChg chg="del">
          <ac:chgData name="Wang, Timothy J." userId="be135309-baa1-4715-99f0-6a1745de2ef7" providerId="ADAL" clId="{EA2B5DDF-993D-44BF-B224-086230859426}" dt="2023-12-08T09:08:19.708" v="1110" actId="478"/>
          <ac:grpSpMkLst>
            <pc:docMk/>
            <pc:sldMk cId="2086922025" sldId="2147472176"/>
            <ac:grpSpMk id="17" creationId="{BFFC4B47-8C11-6789-0580-930B2265F71E}"/>
          </ac:grpSpMkLst>
        </pc:grpChg>
        <pc:grpChg chg="del">
          <ac:chgData name="Wang, Timothy J." userId="be135309-baa1-4715-99f0-6a1745de2ef7" providerId="ADAL" clId="{EA2B5DDF-993D-44BF-B224-086230859426}" dt="2023-12-08T09:08:15.511" v="1109" actId="478"/>
          <ac:grpSpMkLst>
            <pc:docMk/>
            <pc:sldMk cId="2086922025" sldId="2147472176"/>
            <ac:grpSpMk id="21" creationId="{677D4D93-F7D5-4F65-4E69-6D56A6DC3D61}"/>
          </ac:grpSpMkLst>
        </pc:grpChg>
        <pc:grpChg chg="del">
          <ac:chgData name="Wang, Timothy J." userId="be135309-baa1-4715-99f0-6a1745de2ef7" providerId="ADAL" clId="{EA2B5DDF-993D-44BF-B224-086230859426}" dt="2023-12-08T09:08:15.511" v="1109" actId="478"/>
          <ac:grpSpMkLst>
            <pc:docMk/>
            <pc:sldMk cId="2086922025" sldId="2147472176"/>
            <ac:grpSpMk id="24" creationId="{E2A5B700-10EC-6F72-DEA9-2A534450C22F}"/>
          </ac:grpSpMkLst>
        </pc:grpChg>
        <pc:grpChg chg="del">
          <ac:chgData name="Wang, Timothy J." userId="be135309-baa1-4715-99f0-6a1745de2ef7" providerId="ADAL" clId="{EA2B5DDF-993D-44BF-B224-086230859426}" dt="2023-12-08T09:08:15.511" v="1109" actId="478"/>
          <ac:grpSpMkLst>
            <pc:docMk/>
            <pc:sldMk cId="2086922025" sldId="2147472176"/>
            <ac:grpSpMk id="27" creationId="{596FDA89-84CF-F840-22CB-9286EB888FFC}"/>
          </ac:grpSpMkLst>
        </pc:grpChg>
        <pc:graphicFrameChg chg="add mod modGraphic">
          <ac:chgData name="Wang, Timothy J." userId="be135309-baa1-4715-99f0-6a1745de2ef7" providerId="ADAL" clId="{EA2B5DDF-993D-44BF-B224-086230859426}" dt="2023-12-10T18:31:20.268" v="2931" actId="798"/>
          <ac:graphicFrameMkLst>
            <pc:docMk/>
            <pc:sldMk cId="2086922025" sldId="2147472176"/>
            <ac:graphicFrameMk id="31" creationId="{27BA2B9E-EE3C-34F3-3DE7-59197F58E30D}"/>
          </ac:graphicFrameMkLst>
        </pc:graphicFrameChg>
      </pc:sldChg>
      <pc:sldChg chg="addSp delSp modSp new mod modClrScheme chgLayout">
        <pc:chgData name="Wang, Timothy J." userId="be135309-baa1-4715-99f0-6a1745de2ef7" providerId="ADAL" clId="{EA2B5DDF-993D-44BF-B224-086230859426}" dt="2023-12-10T18:25:46.203" v="2881" actId="404"/>
        <pc:sldMkLst>
          <pc:docMk/>
          <pc:sldMk cId="3997180544" sldId="2147472177"/>
        </pc:sldMkLst>
        <pc:spChg chg="del mod ord">
          <ac:chgData name="Wang, Timothy J." userId="be135309-baa1-4715-99f0-6a1745de2ef7" providerId="ADAL" clId="{EA2B5DDF-993D-44BF-B224-086230859426}" dt="2023-12-10T17:31:09.716" v="1840" actId="700"/>
          <ac:spMkLst>
            <pc:docMk/>
            <pc:sldMk cId="3997180544" sldId="2147472177"/>
            <ac:spMk id="2" creationId="{629FFD34-F72C-EAB0-A139-3CD2E25DE594}"/>
          </ac:spMkLst>
        </pc:spChg>
        <pc:spChg chg="del mod ord">
          <ac:chgData name="Wang, Timothy J." userId="be135309-baa1-4715-99f0-6a1745de2ef7" providerId="ADAL" clId="{EA2B5DDF-993D-44BF-B224-086230859426}" dt="2023-12-10T17:31:09.716" v="1840" actId="700"/>
          <ac:spMkLst>
            <pc:docMk/>
            <pc:sldMk cId="3997180544" sldId="2147472177"/>
            <ac:spMk id="3" creationId="{C4DCF6EB-C5FB-8DE9-EE4E-F8662E61565A}"/>
          </ac:spMkLst>
        </pc:spChg>
        <pc:spChg chg="add del mod ord">
          <ac:chgData name="Wang, Timothy J." userId="be135309-baa1-4715-99f0-6a1745de2ef7" providerId="ADAL" clId="{EA2B5DDF-993D-44BF-B224-086230859426}" dt="2023-12-10T17:31:14.489" v="1841" actId="478"/>
          <ac:spMkLst>
            <pc:docMk/>
            <pc:sldMk cId="3997180544" sldId="2147472177"/>
            <ac:spMk id="4" creationId="{3353C5B5-92B1-42A6-56FE-ECE8EE12B6E4}"/>
          </ac:spMkLst>
        </pc:spChg>
        <pc:spChg chg="add del mod ord">
          <ac:chgData name="Wang, Timothy J." userId="be135309-baa1-4715-99f0-6a1745de2ef7" providerId="ADAL" clId="{EA2B5DDF-993D-44BF-B224-086230859426}" dt="2023-12-10T17:31:15.217" v="1842" actId="478"/>
          <ac:spMkLst>
            <pc:docMk/>
            <pc:sldMk cId="3997180544" sldId="2147472177"/>
            <ac:spMk id="5" creationId="{748FE3BB-F083-2DDA-6AD9-5AD6500F49B4}"/>
          </ac:spMkLst>
        </pc:spChg>
        <pc:spChg chg="add mod">
          <ac:chgData name="Wang, Timothy J." userId="be135309-baa1-4715-99f0-6a1745de2ef7" providerId="ADAL" clId="{EA2B5DDF-993D-44BF-B224-086230859426}" dt="2023-12-10T18:07:21.799" v="2333"/>
          <ac:spMkLst>
            <pc:docMk/>
            <pc:sldMk cId="3997180544" sldId="2147472177"/>
            <ac:spMk id="6" creationId="{D2F1BED8-8CD5-18C5-B12C-72F4448FC98C}"/>
          </ac:spMkLst>
        </pc:spChg>
        <pc:spChg chg="add mod">
          <ac:chgData name="Wang, Timothy J." userId="be135309-baa1-4715-99f0-6a1745de2ef7" providerId="ADAL" clId="{EA2B5DDF-993D-44BF-B224-086230859426}" dt="2023-12-10T17:33:38.576" v="2072" actId="20577"/>
          <ac:spMkLst>
            <pc:docMk/>
            <pc:sldMk cId="3997180544" sldId="2147472177"/>
            <ac:spMk id="7" creationId="{6F6B726C-64C0-7159-A99C-2F103258A5E9}"/>
          </ac:spMkLst>
        </pc:spChg>
        <pc:spChg chg="add del mod">
          <ac:chgData name="Wang, Timothy J." userId="be135309-baa1-4715-99f0-6a1745de2ef7" providerId="ADAL" clId="{EA2B5DDF-993D-44BF-B224-086230859426}" dt="2023-12-10T17:31:38.666" v="1845"/>
          <ac:spMkLst>
            <pc:docMk/>
            <pc:sldMk cId="3997180544" sldId="2147472177"/>
            <ac:spMk id="8" creationId="{EA39B6F8-BBE6-C295-6343-34E1B7AED2ED}"/>
          </ac:spMkLst>
        </pc:spChg>
        <pc:spChg chg="add mod">
          <ac:chgData name="Wang, Timothy J." userId="be135309-baa1-4715-99f0-6a1745de2ef7" providerId="ADAL" clId="{EA2B5DDF-993D-44BF-B224-086230859426}" dt="2023-12-10T17:43:51.969" v="2160" actId="1076"/>
          <ac:spMkLst>
            <pc:docMk/>
            <pc:sldMk cId="3997180544" sldId="2147472177"/>
            <ac:spMk id="18" creationId="{C6B81DE0-338D-C49F-A442-34D115712A5E}"/>
          </ac:spMkLst>
        </pc:spChg>
        <pc:spChg chg="add mod">
          <ac:chgData name="Wang, Timothy J." userId="be135309-baa1-4715-99f0-6a1745de2ef7" providerId="ADAL" clId="{EA2B5DDF-993D-44BF-B224-086230859426}" dt="2023-12-10T18:07:57.784" v="2334" actId="113"/>
          <ac:spMkLst>
            <pc:docMk/>
            <pc:sldMk cId="3997180544" sldId="2147472177"/>
            <ac:spMk id="25" creationId="{FC047934-7152-97AD-39EE-BDBBAB4080F3}"/>
          </ac:spMkLst>
        </pc:spChg>
        <pc:spChg chg="add mod">
          <ac:chgData name="Wang, Timothy J." userId="be135309-baa1-4715-99f0-6a1745de2ef7" providerId="ADAL" clId="{EA2B5DDF-993D-44BF-B224-086230859426}" dt="2023-12-10T18:25:46.203" v="2881" actId="404"/>
          <ac:spMkLst>
            <pc:docMk/>
            <pc:sldMk cId="3997180544" sldId="2147472177"/>
            <ac:spMk id="32" creationId="{CA72D5A9-FFBF-5DE1-A24A-8BB338086319}"/>
          </ac:spMkLst>
        </pc:spChg>
        <pc:spChg chg="add mod">
          <ac:chgData name="Wang, Timothy J." userId="be135309-baa1-4715-99f0-6a1745de2ef7" providerId="ADAL" clId="{EA2B5DDF-993D-44BF-B224-086230859426}" dt="2023-12-10T18:25:46.203" v="2881" actId="404"/>
          <ac:spMkLst>
            <pc:docMk/>
            <pc:sldMk cId="3997180544" sldId="2147472177"/>
            <ac:spMk id="33" creationId="{A14F87A3-8B03-3962-D057-71C504F6E6CE}"/>
          </ac:spMkLst>
        </pc:spChg>
        <pc:spChg chg="add mod">
          <ac:chgData name="Wang, Timothy J." userId="be135309-baa1-4715-99f0-6a1745de2ef7" providerId="ADAL" clId="{EA2B5DDF-993D-44BF-B224-086230859426}" dt="2023-12-10T18:25:36.612" v="2878" actId="403"/>
          <ac:spMkLst>
            <pc:docMk/>
            <pc:sldMk cId="3997180544" sldId="2147472177"/>
            <ac:spMk id="34" creationId="{AA079804-C3D8-1C2C-5155-2716C28FB360}"/>
          </ac:spMkLst>
        </pc:spChg>
        <pc:spChg chg="add del mod">
          <ac:chgData name="Wang, Timothy J." userId="be135309-baa1-4715-99f0-6a1745de2ef7" providerId="ADAL" clId="{EA2B5DDF-993D-44BF-B224-086230859426}" dt="2023-12-10T18:12:27.451" v="2482" actId="478"/>
          <ac:spMkLst>
            <pc:docMk/>
            <pc:sldMk cId="3997180544" sldId="2147472177"/>
            <ac:spMk id="35" creationId="{5414581A-0579-23D6-EEAE-3C7D5E59F489}"/>
          </ac:spMkLst>
        </pc:spChg>
        <pc:spChg chg="add mod">
          <ac:chgData name="Wang, Timothy J." userId="be135309-baa1-4715-99f0-6a1745de2ef7" providerId="ADAL" clId="{EA2B5DDF-993D-44BF-B224-086230859426}" dt="2023-12-10T18:25:46.203" v="2881" actId="404"/>
          <ac:spMkLst>
            <pc:docMk/>
            <pc:sldMk cId="3997180544" sldId="2147472177"/>
            <ac:spMk id="36" creationId="{E384D9D8-7F91-45D7-9E27-B02A3B1395E0}"/>
          </ac:spMkLst>
        </pc:spChg>
        <pc:spChg chg="add mod">
          <ac:chgData name="Wang, Timothy J." userId="be135309-baa1-4715-99f0-6a1745de2ef7" providerId="ADAL" clId="{EA2B5DDF-993D-44BF-B224-086230859426}" dt="2023-12-10T18:25:46.203" v="2881" actId="404"/>
          <ac:spMkLst>
            <pc:docMk/>
            <pc:sldMk cId="3997180544" sldId="2147472177"/>
            <ac:spMk id="37" creationId="{5788F3B1-8ADC-F92D-C9B7-7CF8C5CCBA5B}"/>
          </ac:spMkLst>
        </pc:spChg>
        <pc:spChg chg="add mod">
          <ac:chgData name="Wang, Timothy J." userId="be135309-baa1-4715-99f0-6a1745de2ef7" providerId="ADAL" clId="{EA2B5DDF-993D-44BF-B224-086230859426}" dt="2023-12-10T18:25:46.203" v="2881" actId="404"/>
          <ac:spMkLst>
            <pc:docMk/>
            <pc:sldMk cId="3997180544" sldId="2147472177"/>
            <ac:spMk id="38" creationId="{6704953B-FB67-B139-618C-5FA621D8425F}"/>
          </ac:spMkLst>
        </pc:spChg>
        <pc:graphicFrameChg chg="add mod modGraphic">
          <ac:chgData name="Wang, Timothy J." userId="be135309-baa1-4715-99f0-6a1745de2ef7" providerId="ADAL" clId="{EA2B5DDF-993D-44BF-B224-086230859426}" dt="2023-12-10T18:12:16.570" v="2481" actId="20577"/>
          <ac:graphicFrameMkLst>
            <pc:docMk/>
            <pc:sldMk cId="3997180544" sldId="2147472177"/>
            <ac:graphicFrameMk id="10" creationId="{EDC649AD-BB8F-585B-3188-5DB9FB1B4F33}"/>
          </ac:graphicFrameMkLst>
        </pc:graphicFrameChg>
        <pc:picChg chg="add del">
          <ac:chgData name="Wang, Timothy J." userId="be135309-baa1-4715-99f0-6a1745de2ef7" providerId="ADAL" clId="{EA2B5DDF-993D-44BF-B224-086230859426}" dt="2023-12-10T17:31:41.831" v="1847" actId="478"/>
          <ac:picMkLst>
            <pc:docMk/>
            <pc:sldMk cId="3997180544" sldId="2147472177"/>
            <ac:picMk id="9" creationId="{9EFD53DB-3FA0-0400-FF90-1154FAB3B6B0}"/>
          </ac:picMkLst>
        </pc:picChg>
        <pc:cxnChg chg="add mod">
          <ac:chgData name="Wang, Timothy J." userId="be135309-baa1-4715-99f0-6a1745de2ef7" providerId="ADAL" clId="{EA2B5DDF-993D-44BF-B224-086230859426}" dt="2023-12-10T17:44:13.032" v="2166" actId="14100"/>
          <ac:cxnSpMkLst>
            <pc:docMk/>
            <pc:sldMk cId="3997180544" sldId="2147472177"/>
            <ac:cxnSpMk id="12" creationId="{11F32C93-CB1D-E7B2-7B08-FFF4A9355451}"/>
          </ac:cxnSpMkLst>
        </pc:cxnChg>
        <pc:cxnChg chg="add mod">
          <ac:chgData name="Wang, Timothy J." userId="be135309-baa1-4715-99f0-6a1745de2ef7" providerId="ADAL" clId="{EA2B5DDF-993D-44BF-B224-086230859426}" dt="2023-12-10T17:44:11.628" v="2165" actId="14100"/>
          <ac:cxnSpMkLst>
            <pc:docMk/>
            <pc:sldMk cId="3997180544" sldId="2147472177"/>
            <ac:cxnSpMk id="13" creationId="{7CA71F51-399B-485D-FE30-0329D9F07F4E}"/>
          </ac:cxnSpMkLst>
        </pc:cxnChg>
        <pc:cxnChg chg="add mod">
          <ac:chgData name="Wang, Timothy J." userId="be135309-baa1-4715-99f0-6a1745de2ef7" providerId="ADAL" clId="{EA2B5DDF-993D-44BF-B224-086230859426}" dt="2023-12-10T17:43:51.969" v="2160" actId="1076"/>
          <ac:cxnSpMkLst>
            <pc:docMk/>
            <pc:sldMk cId="3997180544" sldId="2147472177"/>
            <ac:cxnSpMk id="14" creationId="{77D21C43-2A92-8FEB-2509-11B51D2FEEC2}"/>
          </ac:cxnSpMkLst>
        </pc:cxnChg>
        <pc:cxnChg chg="add mod">
          <ac:chgData name="Wang, Timothy J." userId="be135309-baa1-4715-99f0-6a1745de2ef7" providerId="ADAL" clId="{EA2B5DDF-993D-44BF-B224-086230859426}" dt="2023-12-10T17:44:07.187" v="2164" actId="14100"/>
          <ac:cxnSpMkLst>
            <pc:docMk/>
            <pc:sldMk cId="3997180544" sldId="2147472177"/>
            <ac:cxnSpMk id="15" creationId="{9A68A8D4-D60C-D207-9102-6C1D91AAB4CA}"/>
          </ac:cxnSpMkLst>
        </pc:cxnChg>
        <pc:cxnChg chg="add mod">
          <ac:chgData name="Wang, Timothy J." userId="be135309-baa1-4715-99f0-6a1745de2ef7" providerId="ADAL" clId="{EA2B5DDF-993D-44BF-B224-086230859426}" dt="2023-12-10T17:43:53.672" v="2161" actId="14100"/>
          <ac:cxnSpMkLst>
            <pc:docMk/>
            <pc:sldMk cId="3997180544" sldId="2147472177"/>
            <ac:cxnSpMk id="16" creationId="{1D318A91-EDAD-6E84-3B50-0F0901C67494}"/>
          </ac:cxnSpMkLst>
        </pc:cxnChg>
        <pc:cxnChg chg="add mod">
          <ac:chgData name="Wang, Timothy J." userId="be135309-baa1-4715-99f0-6a1745de2ef7" providerId="ADAL" clId="{EA2B5DDF-993D-44BF-B224-086230859426}" dt="2023-12-10T17:43:59.840" v="2162" actId="14100"/>
          <ac:cxnSpMkLst>
            <pc:docMk/>
            <pc:sldMk cId="3997180544" sldId="2147472177"/>
            <ac:cxnSpMk id="17" creationId="{711F29FC-C9A1-BF82-355E-817B6B69025E}"/>
          </ac:cxnSpMkLst>
        </pc:cxnChg>
        <pc:cxnChg chg="add mod ord">
          <ac:chgData name="Wang, Timothy J." userId="be135309-baa1-4715-99f0-6a1745de2ef7" providerId="ADAL" clId="{EA2B5DDF-993D-44BF-B224-086230859426}" dt="2023-12-10T18:13:14.612" v="2491" actId="14100"/>
          <ac:cxnSpMkLst>
            <pc:docMk/>
            <pc:sldMk cId="3997180544" sldId="2147472177"/>
            <ac:cxnSpMk id="40" creationId="{FA274664-A5C3-3F0A-9871-4B6DA06AE179}"/>
          </ac:cxnSpMkLst>
        </pc:cxnChg>
        <pc:cxnChg chg="add del mod">
          <ac:chgData name="Wang, Timothy J." userId="be135309-baa1-4715-99f0-6a1745de2ef7" providerId="ADAL" clId="{EA2B5DDF-993D-44BF-B224-086230859426}" dt="2023-12-10T18:10:51.712" v="2451" actId="478"/>
          <ac:cxnSpMkLst>
            <pc:docMk/>
            <pc:sldMk cId="3997180544" sldId="2147472177"/>
            <ac:cxnSpMk id="41" creationId="{DFA11730-B0BE-8BA5-37C5-F18AECEFD405}"/>
          </ac:cxnSpMkLst>
        </pc:cxnChg>
        <pc:cxnChg chg="add mod">
          <ac:chgData name="Wang, Timothy J." userId="be135309-baa1-4715-99f0-6a1745de2ef7" providerId="ADAL" clId="{EA2B5DDF-993D-44BF-B224-086230859426}" dt="2023-12-10T18:12:55.413" v="2488" actId="14100"/>
          <ac:cxnSpMkLst>
            <pc:docMk/>
            <pc:sldMk cId="3997180544" sldId="2147472177"/>
            <ac:cxnSpMk id="45" creationId="{191B59FB-C132-DB37-3CE9-23D56D28DBF1}"/>
          </ac:cxnSpMkLst>
        </pc:cxnChg>
      </pc:sldChg>
      <pc:sldChg chg="addSp delSp modSp add mod">
        <pc:chgData name="Wang, Timothy J." userId="be135309-baa1-4715-99f0-6a1745de2ef7" providerId="ADAL" clId="{EA2B5DDF-993D-44BF-B224-086230859426}" dt="2023-12-10T18:38:58.108" v="3108" actId="14100"/>
        <pc:sldMkLst>
          <pc:docMk/>
          <pc:sldMk cId="4293032827" sldId="2147472178"/>
        </pc:sldMkLst>
        <pc:spChg chg="add mod">
          <ac:chgData name="Wang, Timothy J." userId="be135309-baa1-4715-99f0-6a1745de2ef7" providerId="ADAL" clId="{EA2B5DDF-993D-44BF-B224-086230859426}" dt="2023-12-10T18:37:21.328" v="3028" actId="14100"/>
          <ac:spMkLst>
            <pc:docMk/>
            <pc:sldMk cId="4293032827" sldId="2147472178"/>
            <ac:spMk id="4" creationId="{393B1513-E741-6B77-D606-71637B16FE7C}"/>
          </ac:spMkLst>
        </pc:spChg>
        <pc:spChg chg="mod">
          <ac:chgData name="Wang, Timothy J." userId="be135309-baa1-4715-99f0-6a1745de2ef7" providerId="ADAL" clId="{EA2B5DDF-993D-44BF-B224-086230859426}" dt="2023-12-10T18:29:35.624" v="2915"/>
          <ac:spMkLst>
            <pc:docMk/>
            <pc:sldMk cId="4293032827" sldId="2147472178"/>
            <ac:spMk id="6" creationId="{D2F1BED8-8CD5-18C5-B12C-72F4448FC98C}"/>
          </ac:spMkLst>
        </pc:spChg>
        <pc:spChg chg="mod">
          <ac:chgData name="Wang, Timothy J." userId="be135309-baa1-4715-99f0-6a1745de2ef7" providerId="ADAL" clId="{EA2B5DDF-993D-44BF-B224-086230859426}" dt="2023-12-10T18:36:28.854" v="2997" actId="20577"/>
          <ac:spMkLst>
            <pc:docMk/>
            <pc:sldMk cId="4293032827" sldId="2147472178"/>
            <ac:spMk id="7" creationId="{6F6B726C-64C0-7159-A99C-2F103258A5E9}"/>
          </ac:spMkLst>
        </pc:spChg>
        <pc:spChg chg="add mod">
          <ac:chgData name="Wang, Timothy J." userId="be135309-baa1-4715-99f0-6a1745de2ef7" providerId="ADAL" clId="{EA2B5DDF-993D-44BF-B224-086230859426}" dt="2023-12-10T18:37:33.911" v="3030" actId="1076"/>
          <ac:spMkLst>
            <pc:docMk/>
            <pc:sldMk cId="4293032827" sldId="2147472178"/>
            <ac:spMk id="9" creationId="{7AC8C627-DC62-4971-0EDC-B8EAC7E78689}"/>
          </ac:spMkLst>
        </pc:spChg>
        <pc:spChg chg="add mod">
          <ac:chgData name="Wang, Timothy J." userId="be135309-baa1-4715-99f0-6a1745de2ef7" providerId="ADAL" clId="{EA2B5DDF-993D-44BF-B224-086230859426}" dt="2023-12-10T18:38:14.922" v="3097" actId="1076"/>
          <ac:spMkLst>
            <pc:docMk/>
            <pc:sldMk cId="4293032827" sldId="2147472178"/>
            <ac:spMk id="11" creationId="{38E3400D-DF65-CB11-368E-F237F0CCB457}"/>
          </ac:spMkLst>
        </pc:spChg>
        <pc:spChg chg="del">
          <ac:chgData name="Wang, Timothy J." userId="be135309-baa1-4715-99f0-6a1745de2ef7" providerId="ADAL" clId="{EA2B5DDF-993D-44BF-B224-086230859426}" dt="2023-12-10T18:21:36.335" v="2646" actId="478"/>
          <ac:spMkLst>
            <pc:docMk/>
            <pc:sldMk cId="4293032827" sldId="2147472178"/>
            <ac:spMk id="18" creationId="{C6B81DE0-338D-C49F-A442-34D115712A5E}"/>
          </ac:spMkLst>
        </pc:spChg>
        <pc:spChg chg="del">
          <ac:chgData name="Wang, Timothy J." userId="be135309-baa1-4715-99f0-6a1745de2ef7" providerId="ADAL" clId="{EA2B5DDF-993D-44BF-B224-086230859426}" dt="2023-12-10T18:21:35.146" v="2645" actId="478"/>
          <ac:spMkLst>
            <pc:docMk/>
            <pc:sldMk cId="4293032827" sldId="2147472178"/>
            <ac:spMk id="25" creationId="{FC047934-7152-97AD-39EE-BDBBAB4080F3}"/>
          </ac:spMkLst>
        </pc:spChg>
        <pc:spChg chg="del">
          <ac:chgData name="Wang, Timothy J." userId="be135309-baa1-4715-99f0-6a1745de2ef7" providerId="ADAL" clId="{EA2B5DDF-993D-44BF-B224-086230859426}" dt="2023-12-10T18:21:35.146" v="2645" actId="478"/>
          <ac:spMkLst>
            <pc:docMk/>
            <pc:sldMk cId="4293032827" sldId="2147472178"/>
            <ac:spMk id="32" creationId="{CA72D5A9-FFBF-5DE1-A24A-8BB338086319}"/>
          </ac:spMkLst>
        </pc:spChg>
        <pc:spChg chg="del">
          <ac:chgData name="Wang, Timothy J." userId="be135309-baa1-4715-99f0-6a1745de2ef7" providerId="ADAL" clId="{EA2B5DDF-993D-44BF-B224-086230859426}" dt="2023-12-10T18:21:35.146" v="2645" actId="478"/>
          <ac:spMkLst>
            <pc:docMk/>
            <pc:sldMk cId="4293032827" sldId="2147472178"/>
            <ac:spMk id="33" creationId="{A14F87A3-8B03-3962-D057-71C504F6E6CE}"/>
          </ac:spMkLst>
        </pc:spChg>
        <pc:spChg chg="del">
          <ac:chgData name="Wang, Timothy J." userId="be135309-baa1-4715-99f0-6a1745de2ef7" providerId="ADAL" clId="{EA2B5DDF-993D-44BF-B224-086230859426}" dt="2023-12-10T18:21:35.146" v="2645" actId="478"/>
          <ac:spMkLst>
            <pc:docMk/>
            <pc:sldMk cId="4293032827" sldId="2147472178"/>
            <ac:spMk id="34" creationId="{AA079804-C3D8-1C2C-5155-2716C28FB360}"/>
          </ac:spMkLst>
        </pc:spChg>
        <pc:spChg chg="del">
          <ac:chgData name="Wang, Timothy J." userId="be135309-baa1-4715-99f0-6a1745de2ef7" providerId="ADAL" clId="{EA2B5DDF-993D-44BF-B224-086230859426}" dt="2023-12-10T18:21:35.146" v="2645" actId="478"/>
          <ac:spMkLst>
            <pc:docMk/>
            <pc:sldMk cId="4293032827" sldId="2147472178"/>
            <ac:spMk id="36" creationId="{E384D9D8-7F91-45D7-9E27-B02A3B1395E0}"/>
          </ac:spMkLst>
        </pc:spChg>
        <pc:spChg chg="del">
          <ac:chgData name="Wang, Timothy J." userId="be135309-baa1-4715-99f0-6a1745de2ef7" providerId="ADAL" clId="{EA2B5DDF-993D-44BF-B224-086230859426}" dt="2023-12-10T18:21:35.146" v="2645" actId="478"/>
          <ac:spMkLst>
            <pc:docMk/>
            <pc:sldMk cId="4293032827" sldId="2147472178"/>
            <ac:spMk id="37" creationId="{5788F3B1-8ADC-F92D-C9B7-7CF8C5CCBA5B}"/>
          </ac:spMkLst>
        </pc:spChg>
        <pc:spChg chg="del">
          <ac:chgData name="Wang, Timothy J." userId="be135309-baa1-4715-99f0-6a1745de2ef7" providerId="ADAL" clId="{EA2B5DDF-993D-44BF-B224-086230859426}" dt="2023-12-10T18:21:37.359" v="2647" actId="478"/>
          <ac:spMkLst>
            <pc:docMk/>
            <pc:sldMk cId="4293032827" sldId="2147472178"/>
            <ac:spMk id="38" creationId="{6704953B-FB67-B139-618C-5FA621D8425F}"/>
          </ac:spMkLst>
        </pc:spChg>
        <pc:graphicFrameChg chg="del">
          <ac:chgData name="Wang, Timothy J." userId="be135309-baa1-4715-99f0-6a1745de2ef7" providerId="ADAL" clId="{EA2B5DDF-993D-44BF-B224-086230859426}" dt="2023-12-10T18:21:33.085" v="2644" actId="478"/>
          <ac:graphicFrameMkLst>
            <pc:docMk/>
            <pc:sldMk cId="4293032827" sldId="2147472178"/>
            <ac:graphicFrameMk id="10" creationId="{EDC649AD-BB8F-585B-3188-5DB9FB1B4F33}"/>
          </ac:graphicFrameMkLst>
        </pc:graphicFrameChg>
        <pc:picChg chg="add del mod">
          <ac:chgData name="Wang, Timothy J." userId="be135309-baa1-4715-99f0-6a1745de2ef7" providerId="ADAL" clId="{EA2B5DDF-993D-44BF-B224-086230859426}" dt="2023-12-10T18:35:58.804" v="2977" actId="478"/>
          <ac:picMkLst>
            <pc:docMk/>
            <pc:sldMk cId="4293032827" sldId="2147472178"/>
            <ac:picMk id="3" creationId="{866E64FF-E053-B568-DB57-4F86E9B18B10}"/>
          </ac:picMkLst>
        </pc:picChg>
        <pc:picChg chg="add mod ord">
          <ac:chgData name="Wang, Timothy J." userId="be135309-baa1-4715-99f0-6a1745de2ef7" providerId="ADAL" clId="{EA2B5DDF-993D-44BF-B224-086230859426}" dt="2023-12-10T18:37:32.009" v="3029" actId="1076"/>
          <ac:picMkLst>
            <pc:docMk/>
            <pc:sldMk cId="4293032827" sldId="2147472178"/>
            <ac:picMk id="8" creationId="{61107DF8-49C2-3270-65B1-9C607F969D04}"/>
          </ac:picMkLst>
        </pc:picChg>
        <pc:cxnChg chg="del mod">
          <ac:chgData name="Wang, Timothy J." userId="be135309-baa1-4715-99f0-6a1745de2ef7" providerId="ADAL" clId="{EA2B5DDF-993D-44BF-B224-086230859426}" dt="2023-12-10T18:21:35.146" v="2645" actId="478"/>
          <ac:cxnSpMkLst>
            <pc:docMk/>
            <pc:sldMk cId="4293032827" sldId="2147472178"/>
            <ac:cxnSpMk id="12" creationId="{11F32C93-CB1D-E7B2-7B08-FFF4A9355451}"/>
          </ac:cxnSpMkLst>
        </pc:cxnChg>
        <pc:cxnChg chg="del mod">
          <ac:chgData name="Wang, Timothy J." userId="be135309-baa1-4715-99f0-6a1745de2ef7" providerId="ADAL" clId="{EA2B5DDF-993D-44BF-B224-086230859426}" dt="2023-12-10T18:21:35.146" v="2645" actId="478"/>
          <ac:cxnSpMkLst>
            <pc:docMk/>
            <pc:sldMk cId="4293032827" sldId="2147472178"/>
            <ac:cxnSpMk id="13" creationId="{7CA71F51-399B-485D-FE30-0329D9F07F4E}"/>
          </ac:cxnSpMkLst>
        </pc:cxnChg>
        <pc:cxnChg chg="del mod">
          <ac:chgData name="Wang, Timothy J." userId="be135309-baa1-4715-99f0-6a1745de2ef7" providerId="ADAL" clId="{EA2B5DDF-993D-44BF-B224-086230859426}" dt="2023-12-10T18:21:35.146" v="2645" actId="478"/>
          <ac:cxnSpMkLst>
            <pc:docMk/>
            <pc:sldMk cId="4293032827" sldId="2147472178"/>
            <ac:cxnSpMk id="14" creationId="{77D21C43-2A92-8FEB-2509-11B51D2FEEC2}"/>
          </ac:cxnSpMkLst>
        </pc:cxnChg>
        <pc:cxnChg chg="del mod">
          <ac:chgData name="Wang, Timothy J." userId="be135309-baa1-4715-99f0-6a1745de2ef7" providerId="ADAL" clId="{EA2B5DDF-993D-44BF-B224-086230859426}" dt="2023-12-10T18:21:35.146" v="2645" actId="478"/>
          <ac:cxnSpMkLst>
            <pc:docMk/>
            <pc:sldMk cId="4293032827" sldId="2147472178"/>
            <ac:cxnSpMk id="15" creationId="{9A68A8D4-D60C-D207-9102-6C1D91AAB4CA}"/>
          </ac:cxnSpMkLst>
        </pc:cxnChg>
        <pc:cxnChg chg="del mod">
          <ac:chgData name="Wang, Timothy J." userId="be135309-baa1-4715-99f0-6a1745de2ef7" providerId="ADAL" clId="{EA2B5DDF-993D-44BF-B224-086230859426}" dt="2023-12-10T18:21:35.146" v="2645" actId="478"/>
          <ac:cxnSpMkLst>
            <pc:docMk/>
            <pc:sldMk cId="4293032827" sldId="2147472178"/>
            <ac:cxnSpMk id="16" creationId="{1D318A91-EDAD-6E84-3B50-0F0901C67494}"/>
          </ac:cxnSpMkLst>
        </pc:cxnChg>
        <pc:cxnChg chg="del mod">
          <ac:chgData name="Wang, Timothy J." userId="be135309-baa1-4715-99f0-6a1745de2ef7" providerId="ADAL" clId="{EA2B5DDF-993D-44BF-B224-086230859426}" dt="2023-12-10T18:21:35.146" v="2645" actId="478"/>
          <ac:cxnSpMkLst>
            <pc:docMk/>
            <pc:sldMk cId="4293032827" sldId="2147472178"/>
            <ac:cxnSpMk id="17" creationId="{711F29FC-C9A1-BF82-355E-817B6B69025E}"/>
          </ac:cxnSpMkLst>
        </pc:cxnChg>
        <pc:cxnChg chg="add mod">
          <ac:chgData name="Wang, Timothy J." userId="be135309-baa1-4715-99f0-6a1745de2ef7" providerId="ADAL" clId="{EA2B5DDF-993D-44BF-B224-086230859426}" dt="2023-12-10T18:38:58.108" v="3108" actId="14100"/>
          <ac:cxnSpMkLst>
            <pc:docMk/>
            <pc:sldMk cId="4293032827" sldId="2147472178"/>
            <ac:cxnSpMk id="20" creationId="{BED1FE37-87EB-1B96-6CE3-064432EB1656}"/>
          </ac:cxnSpMkLst>
        </pc:cxnChg>
        <pc:cxnChg chg="del mod">
          <ac:chgData name="Wang, Timothy J." userId="be135309-baa1-4715-99f0-6a1745de2ef7" providerId="ADAL" clId="{EA2B5DDF-993D-44BF-B224-086230859426}" dt="2023-12-10T18:21:35.146" v="2645" actId="478"/>
          <ac:cxnSpMkLst>
            <pc:docMk/>
            <pc:sldMk cId="4293032827" sldId="2147472178"/>
            <ac:cxnSpMk id="40" creationId="{FA274664-A5C3-3F0A-9871-4B6DA06AE179}"/>
          </ac:cxnSpMkLst>
        </pc:cxnChg>
        <pc:cxnChg chg="del mod">
          <ac:chgData name="Wang, Timothy J." userId="be135309-baa1-4715-99f0-6a1745de2ef7" providerId="ADAL" clId="{EA2B5DDF-993D-44BF-B224-086230859426}" dt="2023-12-10T18:21:35.146" v="2645" actId="478"/>
          <ac:cxnSpMkLst>
            <pc:docMk/>
            <pc:sldMk cId="4293032827" sldId="2147472178"/>
            <ac:cxnSpMk id="45" creationId="{191B59FB-C132-DB37-3CE9-23D56D28DBF1}"/>
          </ac:cxnSpMkLst>
        </pc:cxnChg>
      </pc:sldChg>
      <pc:sldChg chg="addSp delSp modSp new mod">
        <pc:chgData name="Wang, Timothy J." userId="be135309-baa1-4715-99f0-6a1745de2ef7" providerId="ADAL" clId="{EA2B5DDF-993D-44BF-B224-086230859426}" dt="2023-12-10T18:48:38.732" v="3792" actId="403"/>
        <pc:sldMkLst>
          <pc:docMk/>
          <pc:sldMk cId="569155294" sldId="2147472179"/>
        </pc:sldMkLst>
        <pc:spChg chg="del">
          <ac:chgData name="Wang, Timothy J." userId="be135309-baa1-4715-99f0-6a1745de2ef7" providerId="ADAL" clId="{EA2B5DDF-993D-44BF-B224-086230859426}" dt="2023-12-10T18:41:55.528" v="3113" actId="478"/>
          <ac:spMkLst>
            <pc:docMk/>
            <pc:sldMk cId="569155294" sldId="2147472179"/>
            <ac:spMk id="2" creationId="{8D97DB70-7576-5DE0-8BAD-708BA4B017FC}"/>
          </ac:spMkLst>
        </pc:spChg>
        <pc:spChg chg="del">
          <ac:chgData name="Wang, Timothy J." userId="be135309-baa1-4715-99f0-6a1745de2ef7" providerId="ADAL" clId="{EA2B5DDF-993D-44BF-B224-086230859426}" dt="2023-12-10T18:41:56.754" v="3114" actId="478"/>
          <ac:spMkLst>
            <pc:docMk/>
            <pc:sldMk cId="569155294" sldId="2147472179"/>
            <ac:spMk id="3" creationId="{AEA8CAAA-A710-3D9A-4EE1-794C555C8173}"/>
          </ac:spMkLst>
        </pc:spChg>
        <pc:spChg chg="add mod">
          <ac:chgData name="Wang, Timothy J." userId="be135309-baa1-4715-99f0-6a1745de2ef7" providerId="ADAL" clId="{EA2B5DDF-993D-44BF-B224-086230859426}" dt="2023-12-10T18:42:20.587" v="3162"/>
          <ac:spMkLst>
            <pc:docMk/>
            <pc:sldMk cId="569155294" sldId="2147472179"/>
            <ac:spMk id="4" creationId="{71D101B9-06AE-B319-DAFE-C3DACF89C7EF}"/>
          </ac:spMkLst>
        </pc:spChg>
        <pc:spChg chg="add mod">
          <ac:chgData name="Wang, Timothy J." userId="be135309-baa1-4715-99f0-6a1745de2ef7" providerId="ADAL" clId="{EA2B5DDF-993D-44BF-B224-086230859426}" dt="2023-12-10T18:43:57.921" v="3328" actId="14100"/>
          <ac:spMkLst>
            <pc:docMk/>
            <pc:sldMk cId="569155294" sldId="2147472179"/>
            <ac:spMk id="5" creationId="{DF4CE4CF-396F-35FF-2E2B-1A3E9E80CA4C}"/>
          </ac:spMkLst>
        </pc:spChg>
        <pc:spChg chg="add del mod">
          <ac:chgData name="Wang, Timothy J." userId="be135309-baa1-4715-99f0-6a1745de2ef7" providerId="ADAL" clId="{EA2B5DDF-993D-44BF-B224-086230859426}" dt="2023-12-10T18:43:37.677" v="3305"/>
          <ac:spMkLst>
            <pc:docMk/>
            <pc:sldMk cId="569155294" sldId="2147472179"/>
            <ac:spMk id="6" creationId="{E303B94A-C4BF-F870-B3FD-E4BF8EDE7219}"/>
          </ac:spMkLst>
        </pc:spChg>
        <pc:spChg chg="add mod">
          <ac:chgData name="Wang, Timothy J." userId="be135309-baa1-4715-99f0-6a1745de2ef7" providerId="ADAL" clId="{EA2B5DDF-993D-44BF-B224-086230859426}" dt="2023-12-10T18:48:38.732" v="3792" actId="403"/>
          <ac:spMkLst>
            <pc:docMk/>
            <pc:sldMk cId="569155294" sldId="2147472179"/>
            <ac:spMk id="7" creationId="{E3B6E5D8-6475-E844-5C78-A433B22D2B58}"/>
          </ac:spMkLst>
        </pc:spChg>
      </pc:sldChg>
      <pc:sldChg chg="delSp modSp add del mod">
        <pc:chgData name="Wang, Timothy J." userId="be135309-baa1-4715-99f0-6a1745de2ef7" providerId="ADAL" clId="{EA2B5DDF-993D-44BF-B224-086230859426}" dt="2023-12-10T18:41:39.891" v="3111" actId="47"/>
        <pc:sldMkLst>
          <pc:docMk/>
          <pc:sldMk cId="1566795398" sldId="2147472179"/>
        </pc:sldMkLst>
        <pc:spChg chg="mod">
          <ac:chgData name="Wang, Timothy J." userId="be135309-baa1-4715-99f0-6a1745de2ef7" providerId="ADAL" clId="{EA2B5DDF-993D-44BF-B224-086230859426}" dt="2023-12-10T18:33:56.181" v="2969"/>
          <ac:spMkLst>
            <pc:docMk/>
            <pc:sldMk cId="1566795398" sldId="2147472179"/>
            <ac:spMk id="6" creationId="{D2F1BED8-8CD5-18C5-B12C-72F4448FC98C}"/>
          </ac:spMkLst>
        </pc:spChg>
        <pc:spChg chg="del">
          <ac:chgData name="Wang, Timothy J." userId="be135309-baa1-4715-99f0-6a1745de2ef7" providerId="ADAL" clId="{EA2B5DDF-993D-44BF-B224-086230859426}" dt="2023-12-10T18:34:11.823" v="2970" actId="478"/>
          <ac:spMkLst>
            <pc:docMk/>
            <pc:sldMk cId="1566795398" sldId="2147472179"/>
            <ac:spMk id="7" creationId="{6F6B726C-64C0-7159-A99C-2F103258A5E9}"/>
          </ac:spMkLst>
        </pc:spChg>
        <pc:spChg chg="del">
          <ac:chgData name="Wang, Timothy J." userId="be135309-baa1-4715-99f0-6a1745de2ef7" providerId="ADAL" clId="{EA2B5DDF-993D-44BF-B224-086230859426}" dt="2023-12-10T18:33:23.731" v="2933" actId="478"/>
          <ac:spMkLst>
            <pc:docMk/>
            <pc:sldMk cId="1566795398" sldId="2147472179"/>
            <ac:spMk id="18" creationId="{C6B81DE0-338D-C49F-A442-34D115712A5E}"/>
          </ac:spMkLst>
        </pc:spChg>
        <pc:spChg chg="del">
          <ac:chgData name="Wang, Timothy J." userId="be135309-baa1-4715-99f0-6a1745de2ef7" providerId="ADAL" clId="{EA2B5DDF-993D-44BF-B224-086230859426}" dt="2023-12-10T18:33:23.731" v="2933" actId="478"/>
          <ac:spMkLst>
            <pc:docMk/>
            <pc:sldMk cId="1566795398" sldId="2147472179"/>
            <ac:spMk id="25" creationId="{FC047934-7152-97AD-39EE-BDBBAB4080F3}"/>
          </ac:spMkLst>
        </pc:spChg>
        <pc:spChg chg="del">
          <ac:chgData name="Wang, Timothy J." userId="be135309-baa1-4715-99f0-6a1745de2ef7" providerId="ADAL" clId="{EA2B5DDF-993D-44BF-B224-086230859426}" dt="2023-12-10T18:33:23.731" v="2933" actId="478"/>
          <ac:spMkLst>
            <pc:docMk/>
            <pc:sldMk cId="1566795398" sldId="2147472179"/>
            <ac:spMk id="32" creationId="{CA72D5A9-FFBF-5DE1-A24A-8BB338086319}"/>
          </ac:spMkLst>
        </pc:spChg>
        <pc:spChg chg="del">
          <ac:chgData name="Wang, Timothy J." userId="be135309-baa1-4715-99f0-6a1745de2ef7" providerId="ADAL" clId="{EA2B5DDF-993D-44BF-B224-086230859426}" dt="2023-12-10T18:33:23.731" v="2933" actId="478"/>
          <ac:spMkLst>
            <pc:docMk/>
            <pc:sldMk cId="1566795398" sldId="2147472179"/>
            <ac:spMk id="33" creationId="{A14F87A3-8B03-3962-D057-71C504F6E6CE}"/>
          </ac:spMkLst>
        </pc:spChg>
        <pc:spChg chg="del">
          <ac:chgData name="Wang, Timothy J." userId="be135309-baa1-4715-99f0-6a1745de2ef7" providerId="ADAL" clId="{EA2B5DDF-993D-44BF-B224-086230859426}" dt="2023-12-10T18:33:23.731" v="2933" actId="478"/>
          <ac:spMkLst>
            <pc:docMk/>
            <pc:sldMk cId="1566795398" sldId="2147472179"/>
            <ac:spMk id="34" creationId="{AA079804-C3D8-1C2C-5155-2716C28FB360}"/>
          </ac:spMkLst>
        </pc:spChg>
        <pc:spChg chg="del">
          <ac:chgData name="Wang, Timothy J." userId="be135309-baa1-4715-99f0-6a1745de2ef7" providerId="ADAL" clId="{EA2B5DDF-993D-44BF-B224-086230859426}" dt="2023-12-10T18:33:23.731" v="2933" actId="478"/>
          <ac:spMkLst>
            <pc:docMk/>
            <pc:sldMk cId="1566795398" sldId="2147472179"/>
            <ac:spMk id="36" creationId="{E384D9D8-7F91-45D7-9E27-B02A3B1395E0}"/>
          </ac:spMkLst>
        </pc:spChg>
        <pc:spChg chg="del">
          <ac:chgData name="Wang, Timothy J." userId="be135309-baa1-4715-99f0-6a1745de2ef7" providerId="ADAL" clId="{EA2B5DDF-993D-44BF-B224-086230859426}" dt="2023-12-10T18:33:23.731" v="2933" actId="478"/>
          <ac:spMkLst>
            <pc:docMk/>
            <pc:sldMk cId="1566795398" sldId="2147472179"/>
            <ac:spMk id="37" creationId="{5788F3B1-8ADC-F92D-C9B7-7CF8C5CCBA5B}"/>
          </ac:spMkLst>
        </pc:spChg>
        <pc:spChg chg="del">
          <ac:chgData name="Wang, Timothy J." userId="be135309-baa1-4715-99f0-6a1745de2ef7" providerId="ADAL" clId="{EA2B5DDF-993D-44BF-B224-086230859426}" dt="2023-12-10T18:33:23.731" v="2933" actId="478"/>
          <ac:spMkLst>
            <pc:docMk/>
            <pc:sldMk cId="1566795398" sldId="2147472179"/>
            <ac:spMk id="38" creationId="{6704953B-FB67-B139-618C-5FA621D8425F}"/>
          </ac:spMkLst>
        </pc:spChg>
        <pc:graphicFrameChg chg="del">
          <ac:chgData name="Wang, Timothy J." userId="be135309-baa1-4715-99f0-6a1745de2ef7" providerId="ADAL" clId="{EA2B5DDF-993D-44BF-B224-086230859426}" dt="2023-12-10T18:33:23.731" v="2933" actId="478"/>
          <ac:graphicFrameMkLst>
            <pc:docMk/>
            <pc:sldMk cId="1566795398" sldId="2147472179"/>
            <ac:graphicFrameMk id="10" creationId="{EDC649AD-BB8F-585B-3188-5DB9FB1B4F33}"/>
          </ac:graphicFrameMkLst>
        </pc:graphicFrameChg>
        <pc:cxnChg chg="del mod">
          <ac:chgData name="Wang, Timothy J." userId="be135309-baa1-4715-99f0-6a1745de2ef7" providerId="ADAL" clId="{EA2B5DDF-993D-44BF-B224-086230859426}" dt="2023-12-10T18:33:23.731" v="2933" actId="478"/>
          <ac:cxnSpMkLst>
            <pc:docMk/>
            <pc:sldMk cId="1566795398" sldId="2147472179"/>
            <ac:cxnSpMk id="12" creationId="{11F32C93-CB1D-E7B2-7B08-FFF4A9355451}"/>
          </ac:cxnSpMkLst>
        </pc:cxnChg>
        <pc:cxnChg chg="del mod">
          <ac:chgData name="Wang, Timothy J." userId="be135309-baa1-4715-99f0-6a1745de2ef7" providerId="ADAL" clId="{EA2B5DDF-993D-44BF-B224-086230859426}" dt="2023-12-10T18:33:23.731" v="2933" actId="478"/>
          <ac:cxnSpMkLst>
            <pc:docMk/>
            <pc:sldMk cId="1566795398" sldId="2147472179"/>
            <ac:cxnSpMk id="13" creationId="{7CA71F51-399B-485D-FE30-0329D9F07F4E}"/>
          </ac:cxnSpMkLst>
        </pc:cxnChg>
        <pc:cxnChg chg="del mod">
          <ac:chgData name="Wang, Timothy J." userId="be135309-baa1-4715-99f0-6a1745de2ef7" providerId="ADAL" clId="{EA2B5DDF-993D-44BF-B224-086230859426}" dt="2023-12-10T18:33:23.731" v="2933" actId="478"/>
          <ac:cxnSpMkLst>
            <pc:docMk/>
            <pc:sldMk cId="1566795398" sldId="2147472179"/>
            <ac:cxnSpMk id="14" creationId="{77D21C43-2A92-8FEB-2509-11B51D2FEEC2}"/>
          </ac:cxnSpMkLst>
        </pc:cxnChg>
        <pc:cxnChg chg="del mod">
          <ac:chgData name="Wang, Timothy J." userId="be135309-baa1-4715-99f0-6a1745de2ef7" providerId="ADAL" clId="{EA2B5DDF-993D-44BF-B224-086230859426}" dt="2023-12-10T18:33:23.731" v="2933" actId="478"/>
          <ac:cxnSpMkLst>
            <pc:docMk/>
            <pc:sldMk cId="1566795398" sldId="2147472179"/>
            <ac:cxnSpMk id="15" creationId="{9A68A8D4-D60C-D207-9102-6C1D91AAB4CA}"/>
          </ac:cxnSpMkLst>
        </pc:cxnChg>
        <pc:cxnChg chg="del mod">
          <ac:chgData name="Wang, Timothy J." userId="be135309-baa1-4715-99f0-6a1745de2ef7" providerId="ADAL" clId="{EA2B5DDF-993D-44BF-B224-086230859426}" dt="2023-12-10T18:33:23.731" v="2933" actId="478"/>
          <ac:cxnSpMkLst>
            <pc:docMk/>
            <pc:sldMk cId="1566795398" sldId="2147472179"/>
            <ac:cxnSpMk id="16" creationId="{1D318A91-EDAD-6E84-3B50-0F0901C67494}"/>
          </ac:cxnSpMkLst>
        </pc:cxnChg>
        <pc:cxnChg chg="del mod">
          <ac:chgData name="Wang, Timothy J." userId="be135309-baa1-4715-99f0-6a1745de2ef7" providerId="ADAL" clId="{EA2B5DDF-993D-44BF-B224-086230859426}" dt="2023-12-10T18:33:23.731" v="2933" actId="478"/>
          <ac:cxnSpMkLst>
            <pc:docMk/>
            <pc:sldMk cId="1566795398" sldId="2147472179"/>
            <ac:cxnSpMk id="17" creationId="{711F29FC-C9A1-BF82-355E-817B6B69025E}"/>
          </ac:cxnSpMkLst>
        </pc:cxnChg>
        <pc:cxnChg chg="del mod">
          <ac:chgData name="Wang, Timothy J." userId="be135309-baa1-4715-99f0-6a1745de2ef7" providerId="ADAL" clId="{EA2B5DDF-993D-44BF-B224-086230859426}" dt="2023-12-10T18:33:23.731" v="2933" actId="478"/>
          <ac:cxnSpMkLst>
            <pc:docMk/>
            <pc:sldMk cId="1566795398" sldId="2147472179"/>
            <ac:cxnSpMk id="40" creationId="{FA274664-A5C3-3F0A-9871-4B6DA06AE179}"/>
          </ac:cxnSpMkLst>
        </pc:cxnChg>
        <pc:cxnChg chg="del mod">
          <ac:chgData name="Wang, Timothy J." userId="be135309-baa1-4715-99f0-6a1745de2ef7" providerId="ADAL" clId="{EA2B5DDF-993D-44BF-B224-086230859426}" dt="2023-12-10T18:33:23.731" v="2933" actId="478"/>
          <ac:cxnSpMkLst>
            <pc:docMk/>
            <pc:sldMk cId="1566795398" sldId="2147472179"/>
            <ac:cxnSpMk id="45" creationId="{191B59FB-C132-DB37-3CE9-23D56D28DBF1}"/>
          </ac:cxnSpMkLst>
        </pc:cxnChg>
      </pc:sldChg>
      <pc:sldChg chg="delSp add del mod">
        <pc:chgData name="Wang, Timothy J." userId="be135309-baa1-4715-99f0-6a1745de2ef7" providerId="ADAL" clId="{EA2B5DDF-993D-44BF-B224-086230859426}" dt="2023-12-10T18:29:24.409" v="2889" actId="47"/>
        <pc:sldMkLst>
          <pc:docMk/>
          <pc:sldMk cId="2849698994" sldId="2147472179"/>
        </pc:sldMkLst>
        <pc:spChg chg="del">
          <ac:chgData name="Wang, Timothy J." userId="be135309-baa1-4715-99f0-6a1745de2ef7" providerId="ADAL" clId="{EA2B5DDF-993D-44BF-B224-086230859426}" dt="2023-12-10T18:23:45.105" v="2795" actId="478"/>
          <ac:spMkLst>
            <pc:docMk/>
            <pc:sldMk cId="2849698994" sldId="2147472179"/>
            <ac:spMk id="4" creationId="{393B1513-E741-6B77-D606-71637B16FE7C}"/>
          </ac:spMkLst>
        </pc:spChg>
        <pc:picChg chg="del">
          <ac:chgData name="Wang, Timothy J." userId="be135309-baa1-4715-99f0-6a1745de2ef7" providerId="ADAL" clId="{EA2B5DDF-993D-44BF-B224-086230859426}" dt="2023-12-10T18:23:41.967" v="2794" actId="478"/>
          <ac:picMkLst>
            <pc:docMk/>
            <pc:sldMk cId="2849698994" sldId="2147472179"/>
            <ac:picMk id="3" creationId="{866E64FF-E053-B568-DB57-4F86E9B18B10}"/>
          </ac:picMkLst>
        </pc:picChg>
      </pc:sldChg>
      <pc:sldChg chg="addSp delSp modSp new mod ord modClrScheme chgLayout">
        <pc:chgData name="Wang, Timothy J." userId="be135309-baa1-4715-99f0-6a1745de2ef7" providerId="ADAL" clId="{EA2B5DDF-993D-44BF-B224-086230859426}" dt="2023-12-11T02:44:33.576" v="4109" actId="1036"/>
        <pc:sldMkLst>
          <pc:docMk/>
          <pc:sldMk cId="4294294712" sldId="2147472180"/>
        </pc:sldMkLst>
        <pc:spChg chg="del mod ord">
          <ac:chgData name="Wang, Timothy J." userId="be135309-baa1-4715-99f0-6a1745de2ef7" providerId="ADAL" clId="{EA2B5DDF-993D-44BF-B224-086230859426}" dt="2023-12-11T02:01:51.801" v="3817" actId="700"/>
          <ac:spMkLst>
            <pc:docMk/>
            <pc:sldMk cId="4294294712" sldId="2147472180"/>
            <ac:spMk id="2" creationId="{C993256F-F868-3F40-B13C-8586351C9A30}"/>
          </ac:spMkLst>
        </pc:spChg>
        <pc:spChg chg="del mod ord">
          <ac:chgData name="Wang, Timothy J." userId="be135309-baa1-4715-99f0-6a1745de2ef7" providerId="ADAL" clId="{EA2B5DDF-993D-44BF-B224-086230859426}" dt="2023-12-11T02:01:51.801" v="3817" actId="700"/>
          <ac:spMkLst>
            <pc:docMk/>
            <pc:sldMk cId="4294294712" sldId="2147472180"/>
            <ac:spMk id="3" creationId="{054E29E7-2718-3BA8-72DA-5BF4E6B3DB09}"/>
          </ac:spMkLst>
        </pc:spChg>
        <pc:spChg chg="add del mod ord">
          <ac:chgData name="Wang, Timothy J." userId="be135309-baa1-4715-99f0-6a1745de2ef7" providerId="ADAL" clId="{EA2B5DDF-993D-44BF-B224-086230859426}" dt="2023-12-11T02:01:54.682" v="3819" actId="478"/>
          <ac:spMkLst>
            <pc:docMk/>
            <pc:sldMk cId="4294294712" sldId="2147472180"/>
            <ac:spMk id="4" creationId="{98427579-B3A4-B8E0-973A-DED7436C08D5}"/>
          </ac:spMkLst>
        </pc:spChg>
        <pc:spChg chg="add del mod ord">
          <ac:chgData name="Wang, Timothy J." userId="be135309-baa1-4715-99f0-6a1745de2ef7" providerId="ADAL" clId="{EA2B5DDF-993D-44BF-B224-086230859426}" dt="2023-12-11T02:01:53.596" v="3818" actId="478"/>
          <ac:spMkLst>
            <pc:docMk/>
            <pc:sldMk cId="4294294712" sldId="2147472180"/>
            <ac:spMk id="5" creationId="{3C3325B9-FC29-FB23-F3AE-6A1432565F79}"/>
          </ac:spMkLst>
        </pc:spChg>
        <pc:spChg chg="add mod">
          <ac:chgData name="Wang, Timothy J." userId="be135309-baa1-4715-99f0-6a1745de2ef7" providerId="ADAL" clId="{EA2B5DDF-993D-44BF-B224-086230859426}" dt="2023-12-11T02:44:28.488" v="4099"/>
          <ac:spMkLst>
            <pc:docMk/>
            <pc:sldMk cId="4294294712" sldId="2147472180"/>
            <ac:spMk id="6" creationId="{502F11B8-053E-C4C5-8D5F-CCE31BB4951B}"/>
          </ac:spMkLst>
        </pc:spChg>
        <pc:spChg chg="add del mod">
          <ac:chgData name="Wang, Timothy J." userId="be135309-baa1-4715-99f0-6a1745de2ef7" providerId="ADAL" clId="{EA2B5DDF-993D-44BF-B224-086230859426}" dt="2023-12-11T02:27:17.758" v="3878" actId="478"/>
          <ac:spMkLst>
            <pc:docMk/>
            <pc:sldMk cId="4294294712" sldId="2147472180"/>
            <ac:spMk id="7" creationId="{17F60D48-5345-E84F-028B-B2C1A49BD8FA}"/>
          </ac:spMkLst>
        </pc:spChg>
        <pc:spChg chg="add mod">
          <ac:chgData name="Wang, Timothy J." userId="be135309-baa1-4715-99f0-6a1745de2ef7" providerId="ADAL" clId="{EA2B5DDF-993D-44BF-B224-086230859426}" dt="2023-12-11T02:44:33.576" v="4109" actId="1036"/>
          <ac:spMkLst>
            <pc:docMk/>
            <pc:sldMk cId="4294294712" sldId="2147472180"/>
            <ac:spMk id="8" creationId="{A61FE37E-03D9-8DE9-C785-2D09EECF3ADC}"/>
          </ac:spMkLst>
        </pc:spChg>
        <pc:spChg chg="add mod">
          <ac:chgData name="Wang, Timothy J." userId="be135309-baa1-4715-99f0-6a1745de2ef7" providerId="ADAL" clId="{EA2B5DDF-993D-44BF-B224-086230859426}" dt="2023-12-11T02:44:33.576" v="4109" actId="1036"/>
          <ac:spMkLst>
            <pc:docMk/>
            <pc:sldMk cId="4294294712" sldId="2147472180"/>
            <ac:spMk id="9" creationId="{ECA05D91-FE40-F152-6795-6DE3AB1618F1}"/>
          </ac:spMkLst>
        </pc:spChg>
        <pc:spChg chg="add mod">
          <ac:chgData name="Wang, Timothy J." userId="be135309-baa1-4715-99f0-6a1745de2ef7" providerId="ADAL" clId="{EA2B5DDF-993D-44BF-B224-086230859426}" dt="2023-12-11T02:43:49.116" v="4070" actId="1076"/>
          <ac:spMkLst>
            <pc:docMk/>
            <pc:sldMk cId="4294294712" sldId="2147472180"/>
            <ac:spMk id="10" creationId="{3A5537E3-770B-223B-36B3-702E6B344794}"/>
          </ac:spMkLst>
        </pc:spChg>
        <pc:spChg chg="add mod">
          <ac:chgData name="Wang, Timothy J." userId="be135309-baa1-4715-99f0-6a1745de2ef7" providerId="ADAL" clId="{EA2B5DDF-993D-44BF-B224-086230859426}" dt="2023-12-11T02:42:42.271" v="4003" actId="207"/>
          <ac:spMkLst>
            <pc:docMk/>
            <pc:sldMk cId="4294294712" sldId="2147472180"/>
            <ac:spMk id="11" creationId="{5F234D02-E349-9981-9EF8-12DBDE9DFDE3}"/>
          </ac:spMkLst>
        </pc:spChg>
        <pc:spChg chg="add mod">
          <ac:chgData name="Wang, Timothy J." userId="be135309-baa1-4715-99f0-6a1745de2ef7" providerId="ADAL" clId="{EA2B5DDF-993D-44BF-B224-086230859426}" dt="2023-12-11T02:43:17.018" v="4006" actId="20577"/>
          <ac:spMkLst>
            <pc:docMk/>
            <pc:sldMk cId="4294294712" sldId="2147472180"/>
            <ac:spMk id="12" creationId="{2B1EAFA4-D1C7-270F-7E97-7E79D005D479}"/>
          </ac:spMkLst>
        </pc:spChg>
        <pc:spChg chg="add mod">
          <ac:chgData name="Wang, Timothy J." userId="be135309-baa1-4715-99f0-6a1745de2ef7" providerId="ADAL" clId="{EA2B5DDF-993D-44BF-B224-086230859426}" dt="2023-12-11T02:42:42.271" v="4003" actId="207"/>
          <ac:spMkLst>
            <pc:docMk/>
            <pc:sldMk cId="4294294712" sldId="2147472180"/>
            <ac:spMk id="13" creationId="{89428DC7-5ED9-9CD4-462C-E817DBDE1DD3}"/>
          </ac:spMkLst>
        </pc:spChg>
        <pc:spChg chg="add mod">
          <ac:chgData name="Wang, Timothy J." userId="be135309-baa1-4715-99f0-6a1745de2ef7" providerId="ADAL" clId="{EA2B5DDF-993D-44BF-B224-086230859426}" dt="2023-12-11T02:42:42.271" v="4003" actId="207"/>
          <ac:spMkLst>
            <pc:docMk/>
            <pc:sldMk cId="4294294712" sldId="2147472180"/>
            <ac:spMk id="14" creationId="{8DAFC6F8-126C-D8E4-02A8-3E2922C63ABB}"/>
          </ac:spMkLst>
        </pc:spChg>
        <pc:spChg chg="add mod">
          <ac:chgData name="Wang, Timothy J." userId="be135309-baa1-4715-99f0-6a1745de2ef7" providerId="ADAL" clId="{EA2B5DDF-993D-44BF-B224-086230859426}" dt="2023-12-11T02:43:11.528" v="4005" actId="20577"/>
          <ac:spMkLst>
            <pc:docMk/>
            <pc:sldMk cId="4294294712" sldId="2147472180"/>
            <ac:spMk id="15" creationId="{90B8E891-84B5-93B4-2CED-44943EE1BA85}"/>
          </ac:spMkLst>
        </pc:spChg>
        <pc:spChg chg="add mod">
          <ac:chgData name="Wang, Timothy J." userId="be135309-baa1-4715-99f0-6a1745de2ef7" providerId="ADAL" clId="{EA2B5DDF-993D-44BF-B224-086230859426}" dt="2023-12-11T02:42:42.271" v="4003" actId="207"/>
          <ac:spMkLst>
            <pc:docMk/>
            <pc:sldMk cId="4294294712" sldId="2147472180"/>
            <ac:spMk id="16" creationId="{46B886E5-A7BD-7E0B-4BDD-E8C0407E70D3}"/>
          </ac:spMkLst>
        </pc:spChg>
      </pc:sldChg>
    </pc:docChg>
  </pc:docChgLst>
  <pc:docChgLst>
    <pc:chgData name="Wang, Timothy J." userId="be135309-baa1-4715-99f0-6a1745de2ef7" providerId="ADAL" clId="{F41CC25D-48DC-4BCD-A52A-19ED387F254C}"/>
    <pc:docChg chg="undo custSel addSld delSld modSld modMainMaster addSection delSection modSection">
      <pc:chgData name="Wang, Timothy J." userId="be135309-baa1-4715-99f0-6a1745de2ef7" providerId="ADAL" clId="{F41CC25D-48DC-4BCD-A52A-19ED387F254C}" dt="2023-11-29T17:47:47.079" v="2579" actId="729"/>
      <pc:docMkLst>
        <pc:docMk/>
      </pc:docMkLst>
      <pc:sldChg chg="modSp mod modTransition">
        <pc:chgData name="Wang, Timothy J." userId="be135309-baa1-4715-99f0-6a1745de2ef7" providerId="ADAL" clId="{F41CC25D-48DC-4BCD-A52A-19ED387F254C}" dt="2023-11-27T04:07:04.465" v="2560"/>
        <pc:sldMkLst>
          <pc:docMk/>
          <pc:sldMk cId="0" sldId="256"/>
        </pc:sldMkLst>
        <pc:spChg chg="mod">
          <ac:chgData name="Wang, Timothy J." userId="be135309-baa1-4715-99f0-6a1745de2ef7" providerId="ADAL" clId="{F41CC25D-48DC-4BCD-A52A-19ED387F254C}" dt="2023-11-27T04:07:04.465" v="2560"/>
          <ac:spMkLst>
            <pc:docMk/>
            <pc:sldMk cId="0" sldId="256"/>
            <ac:spMk id="5" creationId="{4BE0CEFE-062C-4720-884B-5246EE13E0B6}"/>
          </ac:spMkLst>
        </pc:spChg>
      </pc:sldChg>
      <pc:sldChg chg="modSp mod">
        <pc:chgData name="Wang, Timothy J." userId="be135309-baa1-4715-99f0-6a1745de2ef7" providerId="ADAL" clId="{F41CC25D-48DC-4BCD-A52A-19ED387F254C}" dt="2023-11-15T03:17:16.953" v="887" actId="20577"/>
        <pc:sldMkLst>
          <pc:docMk/>
          <pc:sldMk cId="1786087711" sldId="307"/>
        </pc:sldMkLst>
        <pc:spChg chg="mod">
          <ac:chgData name="Wang, Timothy J." userId="be135309-baa1-4715-99f0-6a1745de2ef7" providerId="ADAL" clId="{F41CC25D-48DC-4BCD-A52A-19ED387F254C}" dt="2023-11-15T03:17:16.953" v="887" actId="20577"/>
          <ac:spMkLst>
            <pc:docMk/>
            <pc:sldMk cId="1786087711" sldId="307"/>
            <ac:spMk id="14" creationId="{00000000-0000-0000-0000-000000000000}"/>
          </ac:spMkLst>
        </pc:spChg>
      </pc:sldChg>
      <pc:sldChg chg="modTransition">
        <pc:chgData name="Wang, Timothy J." userId="be135309-baa1-4715-99f0-6a1745de2ef7" providerId="ADAL" clId="{F41CC25D-48DC-4BCD-A52A-19ED387F254C}" dt="2023-11-15T03:30:39.889" v="1166"/>
        <pc:sldMkLst>
          <pc:docMk/>
          <pc:sldMk cId="2130531391" sldId="2147472142"/>
        </pc:sldMkLst>
      </pc:sldChg>
      <pc:sldChg chg="modSp">
        <pc:chgData name="Wang, Timothy J." userId="be135309-baa1-4715-99f0-6a1745de2ef7" providerId="ADAL" clId="{F41CC25D-48DC-4BCD-A52A-19ED387F254C}" dt="2023-11-27T04:07:04.465" v="2560"/>
        <pc:sldMkLst>
          <pc:docMk/>
          <pc:sldMk cId="3559886403" sldId="2147472152"/>
        </pc:sldMkLst>
        <pc:spChg chg="mod">
          <ac:chgData name="Wang, Timothy J." userId="be135309-baa1-4715-99f0-6a1745de2ef7" providerId="ADAL" clId="{F41CC25D-48DC-4BCD-A52A-19ED387F254C}" dt="2023-11-27T04:07:04.465" v="2560"/>
          <ac:spMkLst>
            <pc:docMk/>
            <pc:sldMk cId="3559886403" sldId="2147472152"/>
            <ac:spMk id="5" creationId="{5082B48D-CD84-E2D2-78F1-22D1867BC77B}"/>
          </ac:spMkLst>
        </pc:spChg>
      </pc:sldChg>
      <pc:sldChg chg="addSp modSp mod modTransition">
        <pc:chgData name="Wang, Timothy J." userId="be135309-baa1-4715-99f0-6a1745de2ef7" providerId="ADAL" clId="{F41CC25D-48DC-4BCD-A52A-19ED387F254C}" dt="2023-11-27T04:07:04.465" v="2560"/>
        <pc:sldMkLst>
          <pc:docMk/>
          <pc:sldMk cId="3815072728" sldId="2147472154"/>
        </pc:sldMkLst>
        <pc:spChg chg="add mod">
          <ac:chgData name="Wang, Timothy J." userId="be135309-baa1-4715-99f0-6a1745de2ef7" providerId="ADAL" clId="{F41CC25D-48DC-4BCD-A52A-19ED387F254C}" dt="2023-11-27T03:36:02.709" v="2349" actId="1076"/>
          <ac:spMkLst>
            <pc:docMk/>
            <pc:sldMk cId="3815072728" sldId="2147472154"/>
            <ac:spMk id="3" creationId="{7CFDD59E-7665-A49C-57C6-4B09B46433C1}"/>
          </ac:spMkLst>
        </pc:spChg>
        <pc:spChg chg="add mod">
          <ac:chgData name="Wang, Timothy J." userId="be135309-baa1-4715-99f0-6a1745de2ef7" providerId="ADAL" clId="{F41CC25D-48DC-4BCD-A52A-19ED387F254C}" dt="2023-11-27T02:38:31.281" v="1876" actId="1076"/>
          <ac:spMkLst>
            <pc:docMk/>
            <pc:sldMk cId="3815072728" sldId="2147472154"/>
            <ac:spMk id="5" creationId="{48AD02B8-DA4A-20E7-381E-C0CB120D4D57}"/>
          </ac:spMkLst>
        </pc:spChg>
        <pc:spChg chg="mod">
          <ac:chgData name="Wang, Timothy J." userId="be135309-baa1-4715-99f0-6a1745de2ef7" providerId="ADAL" clId="{F41CC25D-48DC-4BCD-A52A-19ED387F254C}" dt="2023-11-27T02:38:40.145" v="1877" actId="1076"/>
          <ac:spMkLst>
            <pc:docMk/>
            <pc:sldMk cId="3815072728" sldId="2147472154"/>
            <ac:spMk id="11" creationId="{630385FB-448D-DE12-D528-1C0E06C0C662}"/>
          </ac:spMkLst>
        </pc:spChg>
        <pc:spChg chg="mod">
          <ac:chgData name="Wang, Timothy J." userId="be135309-baa1-4715-99f0-6a1745de2ef7" providerId="ADAL" clId="{F41CC25D-48DC-4BCD-A52A-19ED387F254C}" dt="2023-11-27T04:07:04.465" v="2560"/>
          <ac:spMkLst>
            <pc:docMk/>
            <pc:sldMk cId="3815072728" sldId="2147472154"/>
            <ac:spMk id="12" creationId="{A0606B96-A153-6BC2-E596-45E670B36AEF}"/>
          </ac:spMkLst>
        </pc:spChg>
        <pc:spChg chg="mod">
          <ac:chgData name="Wang, Timothy J." userId="be135309-baa1-4715-99f0-6a1745de2ef7" providerId="ADAL" clId="{F41CC25D-48DC-4BCD-A52A-19ED387F254C}" dt="2023-11-27T02:38:44.271" v="1878" actId="1076"/>
          <ac:spMkLst>
            <pc:docMk/>
            <pc:sldMk cId="3815072728" sldId="2147472154"/>
            <ac:spMk id="13" creationId="{5C0965A3-4820-3A28-1CE6-6F0602382B99}"/>
          </ac:spMkLst>
        </pc:spChg>
        <pc:spChg chg="mod">
          <ac:chgData name="Wang, Timothy J." userId="be135309-baa1-4715-99f0-6a1745de2ef7" providerId="ADAL" clId="{F41CC25D-48DC-4BCD-A52A-19ED387F254C}" dt="2023-11-15T02:16:05.120" v="54"/>
          <ac:spMkLst>
            <pc:docMk/>
            <pc:sldMk cId="3815072728" sldId="2147472154"/>
            <ac:spMk id="23" creationId="{51034F72-1236-C46D-AC7B-D624501DF819}"/>
          </ac:spMkLst>
        </pc:spChg>
        <pc:spChg chg="mod">
          <ac:chgData name="Wang, Timothy J." userId="be135309-baa1-4715-99f0-6a1745de2ef7" providerId="ADAL" clId="{F41CC25D-48DC-4BCD-A52A-19ED387F254C}" dt="2023-11-27T02:38:19.478" v="1842"/>
          <ac:spMkLst>
            <pc:docMk/>
            <pc:sldMk cId="3815072728" sldId="2147472154"/>
            <ac:spMk id="30" creationId="{49C5878C-7710-3402-658B-97B7E1A9C356}"/>
          </ac:spMkLst>
        </pc:spChg>
        <pc:spChg chg="mod">
          <ac:chgData name="Wang, Timothy J." userId="be135309-baa1-4715-99f0-6a1745de2ef7" providerId="ADAL" clId="{F41CC25D-48DC-4BCD-A52A-19ED387F254C}" dt="2023-11-27T03:00:56.601" v="2027" actId="20577"/>
          <ac:spMkLst>
            <pc:docMk/>
            <pc:sldMk cId="3815072728" sldId="2147472154"/>
            <ac:spMk id="33" creationId="{DBC8502C-6918-EED7-AA8D-CF74AF650689}"/>
          </ac:spMkLst>
        </pc:spChg>
        <pc:spChg chg="mod">
          <ac:chgData name="Wang, Timothy J." userId="be135309-baa1-4715-99f0-6a1745de2ef7" providerId="ADAL" clId="{F41CC25D-48DC-4BCD-A52A-19ED387F254C}" dt="2023-11-15T03:17:01.726" v="874"/>
          <ac:spMkLst>
            <pc:docMk/>
            <pc:sldMk cId="3815072728" sldId="2147472154"/>
            <ac:spMk id="56" creationId="{37D70530-375F-A2DF-D276-E07ABF4A927C}"/>
          </ac:spMkLst>
        </pc:spChg>
        <pc:cxnChg chg="mod">
          <ac:chgData name="Wang, Timothy J." userId="be135309-baa1-4715-99f0-6a1745de2ef7" providerId="ADAL" clId="{F41CC25D-48DC-4BCD-A52A-19ED387F254C}" dt="2023-11-27T02:38:44.271" v="1878" actId="1076"/>
          <ac:cxnSpMkLst>
            <pc:docMk/>
            <pc:sldMk cId="3815072728" sldId="2147472154"/>
            <ac:cxnSpMk id="15" creationId="{8552F9E4-AF4A-81E0-F685-CD6673BF4523}"/>
          </ac:cxnSpMkLst>
        </pc:cxnChg>
      </pc:sldChg>
      <pc:sldChg chg="addSp modSp mod modTransition">
        <pc:chgData name="Wang, Timothy J." userId="be135309-baa1-4715-99f0-6a1745de2ef7" providerId="ADAL" clId="{F41CC25D-48DC-4BCD-A52A-19ED387F254C}" dt="2023-11-27T04:07:19.825" v="2561" actId="20577"/>
        <pc:sldMkLst>
          <pc:docMk/>
          <pc:sldMk cId="4149732360" sldId="2147472155"/>
        </pc:sldMkLst>
        <pc:spChg chg="add mod">
          <ac:chgData name="Wang, Timothy J." userId="be135309-baa1-4715-99f0-6a1745de2ef7" providerId="ADAL" clId="{F41CC25D-48DC-4BCD-A52A-19ED387F254C}" dt="2023-11-27T02:40:16.708" v="1907" actId="571"/>
          <ac:spMkLst>
            <pc:docMk/>
            <pc:sldMk cId="4149732360" sldId="2147472155"/>
            <ac:spMk id="2" creationId="{576AA61B-004D-C676-B199-F193374098B5}"/>
          </ac:spMkLst>
        </pc:spChg>
        <pc:spChg chg="add mod">
          <ac:chgData name="Wang, Timothy J." userId="be135309-baa1-4715-99f0-6a1745de2ef7" providerId="ADAL" clId="{F41CC25D-48DC-4BCD-A52A-19ED387F254C}" dt="2023-11-27T02:52:33.610" v="1984" actId="552"/>
          <ac:spMkLst>
            <pc:docMk/>
            <pc:sldMk cId="4149732360" sldId="2147472155"/>
            <ac:spMk id="4" creationId="{E94C6D94-3D49-52E1-2663-4493D2210908}"/>
          </ac:spMkLst>
        </pc:spChg>
        <pc:spChg chg="add mod">
          <ac:chgData name="Wang, Timothy J." userId="be135309-baa1-4715-99f0-6a1745de2ef7" providerId="ADAL" clId="{F41CC25D-48DC-4BCD-A52A-19ED387F254C}" dt="2023-11-27T02:40:23.438" v="1922"/>
          <ac:spMkLst>
            <pc:docMk/>
            <pc:sldMk cId="4149732360" sldId="2147472155"/>
            <ac:spMk id="5" creationId="{A51F45B1-E0ED-8ADE-2779-81BD72D84705}"/>
          </ac:spMkLst>
        </pc:spChg>
        <pc:spChg chg="mod">
          <ac:chgData name="Wang, Timothy J." userId="be135309-baa1-4715-99f0-6a1745de2ef7" providerId="ADAL" clId="{F41CC25D-48DC-4BCD-A52A-19ED387F254C}" dt="2023-11-27T02:40:16.708" v="1907" actId="571"/>
          <ac:spMkLst>
            <pc:docMk/>
            <pc:sldMk cId="4149732360" sldId="2147472155"/>
            <ac:spMk id="6" creationId="{A1719249-DB59-BC85-0EAC-09922775F9DA}"/>
          </ac:spMkLst>
        </pc:spChg>
        <pc:spChg chg="mod">
          <ac:chgData name="Wang, Timothy J." userId="be135309-baa1-4715-99f0-6a1745de2ef7" providerId="ADAL" clId="{F41CC25D-48DC-4BCD-A52A-19ED387F254C}" dt="2023-11-27T04:07:19.825" v="2561" actId="20577"/>
          <ac:spMkLst>
            <pc:docMk/>
            <pc:sldMk cId="4149732360" sldId="2147472155"/>
            <ac:spMk id="7" creationId="{B1AED013-E8DA-06E1-4C6F-6D4FEE5718AB}"/>
          </ac:spMkLst>
        </pc:spChg>
        <pc:spChg chg="mod">
          <ac:chgData name="Wang, Timothy J." userId="be135309-baa1-4715-99f0-6a1745de2ef7" providerId="ADAL" clId="{F41CC25D-48DC-4BCD-A52A-19ED387F254C}" dt="2023-11-27T02:40:41.939" v="1930" actId="1076"/>
          <ac:spMkLst>
            <pc:docMk/>
            <pc:sldMk cId="4149732360" sldId="2147472155"/>
            <ac:spMk id="8" creationId="{3B999854-E49F-E6AD-463F-3566220EA1F9}"/>
          </ac:spMkLst>
        </pc:spChg>
        <pc:spChg chg="mod">
          <ac:chgData name="Wang, Timothy J." userId="be135309-baa1-4715-99f0-6a1745de2ef7" providerId="ADAL" clId="{F41CC25D-48DC-4BCD-A52A-19ED387F254C}" dt="2023-11-27T02:40:16.708" v="1907" actId="571"/>
          <ac:spMkLst>
            <pc:docMk/>
            <pc:sldMk cId="4149732360" sldId="2147472155"/>
            <ac:spMk id="9" creationId="{B96B2137-2425-9D19-9929-73B26E678253}"/>
          </ac:spMkLst>
        </pc:spChg>
        <pc:spChg chg="mod">
          <ac:chgData name="Wang, Timothy J." userId="be135309-baa1-4715-99f0-6a1745de2ef7" providerId="ADAL" clId="{F41CC25D-48DC-4BCD-A52A-19ED387F254C}" dt="2023-11-27T02:52:33.610" v="1984" actId="552"/>
          <ac:spMkLst>
            <pc:docMk/>
            <pc:sldMk cId="4149732360" sldId="2147472155"/>
            <ac:spMk id="10" creationId="{47B3015F-A88D-DD16-867B-EC26663D37E0}"/>
          </ac:spMkLst>
        </pc:spChg>
        <pc:spChg chg="mod">
          <ac:chgData name="Wang, Timothy J." userId="be135309-baa1-4715-99f0-6a1745de2ef7" providerId="ADAL" clId="{F41CC25D-48DC-4BCD-A52A-19ED387F254C}" dt="2023-11-27T04:07:04.465" v="2560"/>
          <ac:spMkLst>
            <pc:docMk/>
            <pc:sldMk cId="4149732360" sldId="2147472155"/>
            <ac:spMk id="11" creationId="{45435E6B-C3EF-EDAB-6DD3-9B4769B33450}"/>
          </ac:spMkLst>
        </pc:spChg>
        <pc:spChg chg="mod">
          <ac:chgData name="Wang, Timothy J." userId="be135309-baa1-4715-99f0-6a1745de2ef7" providerId="ADAL" clId="{F41CC25D-48DC-4BCD-A52A-19ED387F254C}" dt="2023-11-27T02:52:46.052" v="1986" actId="408"/>
          <ac:spMkLst>
            <pc:docMk/>
            <pc:sldMk cId="4149732360" sldId="2147472155"/>
            <ac:spMk id="12" creationId="{4EF0A05C-B040-C5DA-9669-DEECF94F0C45}"/>
          </ac:spMkLst>
        </pc:spChg>
        <pc:spChg chg="mod">
          <ac:chgData name="Wang, Timothy J." userId="be135309-baa1-4715-99f0-6a1745de2ef7" providerId="ADAL" clId="{F41CC25D-48DC-4BCD-A52A-19ED387F254C}" dt="2023-11-27T02:40:16.708" v="1907" actId="571"/>
          <ac:spMkLst>
            <pc:docMk/>
            <pc:sldMk cId="4149732360" sldId="2147472155"/>
            <ac:spMk id="13" creationId="{31934CBA-18B3-5409-930F-FEFFDA01B258}"/>
          </ac:spMkLst>
        </pc:spChg>
        <pc:spChg chg="mod">
          <ac:chgData name="Wang, Timothy J." userId="be135309-baa1-4715-99f0-6a1745de2ef7" providerId="ADAL" clId="{F41CC25D-48DC-4BCD-A52A-19ED387F254C}" dt="2023-11-27T02:40:16.708" v="1907" actId="571"/>
          <ac:spMkLst>
            <pc:docMk/>
            <pc:sldMk cId="4149732360" sldId="2147472155"/>
            <ac:spMk id="14" creationId="{9E82AA10-7844-E926-E9D4-B51BF3169BAE}"/>
          </ac:spMkLst>
        </pc:spChg>
        <pc:spChg chg="mod">
          <ac:chgData name="Wang, Timothy J." userId="be135309-baa1-4715-99f0-6a1745de2ef7" providerId="ADAL" clId="{F41CC25D-48DC-4BCD-A52A-19ED387F254C}" dt="2023-11-27T02:52:46.052" v="1986" actId="408"/>
          <ac:spMkLst>
            <pc:docMk/>
            <pc:sldMk cId="4149732360" sldId="2147472155"/>
            <ac:spMk id="15" creationId="{4A4355FD-9B44-E32D-2DC0-B03313BB7326}"/>
          </ac:spMkLst>
        </pc:spChg>
        <pc:spChg chg="mod">
          <ac:chgData name="Wang, Timothy J." userId="be135309-baa1-4715-99f0-6a1745de2ef7" providerId="ADAL" clId="{F41CC25D-48DC-4BCD-A52A-19ED387F254C}" dt="2023-11-27T02:52:43.334" v="1985" actId="554"/>
          <ac:spMkLst>
            <pc:docMk/>
            <pc:sldMk cId="4149732360" sldId="2147472155"/>
            <ac:spMk id="16" creationId="{0067D41C-4268-BC24-5638-31538A4424C3}"/>
          </ac:spMkLst>
        </pc:spChg>
        <pc:spChg chg="mod">
          <ac:chgData name="Wang, Timothy J." userId="be135309-baa1-4715-99f0-6a1745de2ef7" providerId="ADAL" clId="{F41CC25D-48DC-4BCD-A52A-19ED387F254C}" dt="2023-11-27T02:40:16.708" v="1907" actId="571"/>
          <ac:spMkLst>
            <pc:docMk/>
            <pc:sldMk cId="4149732360" sldId="2147472155"/>
            <ac:spMk id="17" creationId="{886D12F3-C484-5CCD-4555-909D47F3D94F}"/>
          </ac:spMkLst>
        </pc:spChg>
        <pc:spChg chg="mod">
          <ac:chgData name="Wang, Timothy J." userId="be135309-baa1-4715-99f0-6a1745de2ef7" providerId="ADAL" clId="{F41CC25D-48DC-4BCD-A52A-19ED387F254C}" dt="2023-11-27T02:40:16.708" v="1907" actId="571"/>
          <ac:spMkLst>
            <pc:docMk/>
            <pc:sldMk cId="4149732360" sldId="2147472155"/>
            <ac:spMk id="18" creationId="{AA4F6AA9-B3AB-049A-98EA-67B8437F8DBE}"/>
          </ac:spMkLst>
        </pc:spChg>
        <pc:spChg chg="mod">
          <ac:chgData name="Wang, Timothy J." userId="be135309-baa1-4715-99f0-6a1745de2ef7" providerId="ADAL" clId="{F41CC25D-48DC-4BCD-A52A-19ED387F254C}" dt="2023-11-27T02:40:16.708" v="1907" actId="571"/>
          <ac:spMkLst>
            <pc:docMk/>
            <pc:sldMk cId="4149732360" sldId="2147472155"/>
            <ac:spMk id="19" creationId="{DE5B7E56-718C-8429-2B02-B8B468A0F6BD}"/>
          </ac:spMkLst>
        </pc:spChg>
        <pc:spChg chg="mod">
          <ac:chgData name="Wang, Timothy J." userId="be135309-baa1-4715-99f0-6a1745de2ef7" providerId="ADAL" clId="{F41CC25D-48DC-4BCD-A52A-19ED387F254C}" dt="2023-11-27T02:40:16.708" v="1907" actId="571"/>
          <ac:spMkLst>
            <pc:docMk/>
            <pc:sldMk cId="4149732360" sldId="2147472155"/>
            <ac:spMk id="20" creationId="{348BFD84-E293-A42E-08B2-95F0A709B0CE}"/>
          </ac:spMkLst>
        </pc:spChg>
        <pc:spChg chg="mod">
          <ac:chgData name="Wang, Timothy J." userId="be135309-baa1-4715-99f0-6a1745de2ef7" providerId="ADAL" clId="{F41CC25D-48DC-4BCD-A52A-19ED387F254C}" dt="2023-11-27T02:40:16.708" v="1907" actId="571"/>
          <ac:spMkLst>
            <pc:docMk/>
            <pc:sldMk cId="4149732360" sldId="2147472155"/>
            <ac:spMk id="21" creationId="{6DA1A0CC-687E-FAEB-0377-2AB0B65EA868}"/>
          </ac:spMkLst>
        </pc:spChg>
        <pc:spChg chg="mod">
          <ac:chgData name="Wang, Timothy J." userId="be135309-baa1-4715-99f0-6a1745de2ef7" providerId="ADAL" clId="{F41CC25D-48DC-4BCD-A52A-19ED387F254C}" dt="2023-11-27T02:40:16.708" v="1907" actId="571"/>
          <ac:spMkLst>
            <pc:docMk/>
            <pc:sldMk cId="4149732360" sldId="2147472155"/>
            <ac:spMk id="22" creationId="{24EF1BA7-B629-6EB3-0D78-CC3D149D5D3A}"/>
          </ac:spMkLst>
        </pc:spChg>
        <pc:spChg chg="mod">
          <ac:chgData name="Wang, Timothy J." userId="be135309-baa1-4715-99f0-6a1745de2ef7" providerId="ADAL" clId="{F41CC25D-48DC-4BCD-A52A-19ED387F254C}" dt="2023-11-27T02:40:16.708" v="1907" actId="571"/>
          <ac:spMkLst>
            <pc:docMk/>
            <pc:sldMk cId="4149732360" sldId="2147472155"/>
            <ac:spMk id="23" creationId="{F467C965-DFD4-8E3A-D5EE-D9F006DD841F}"/>
          </ac:spMkLst>
        </pc:spChg>
        <pc:spChg chg="mod">
          <ac:chgData name="Wang, Timothy J." userId="be135309-baa1-4715-99f0-6a1745de2ef7" providerId="ADAL" clId="{F41CC25D-48DC-4BCD-A52A-19ED387F254C}" dt="2023-11-27T02:40:16.708" v="1907" actId="571"/>
          <ac:spMkLst>
            <pc:docMk/>
            <pc:sldMk cId="4149732360" sldId="2147472155"/>
            <ac:spMk id="24" creationId="{A5F3AE8D-BADD-3756-6833-AB5DBEEF0356}"/>
          </ac:spMkLst>
        </pc:spChg>
        <pc:spChg chg="mod">
          <ac:chgData name="Wang, Timothy J." userId="be135309-baa1-4715-99f0-6a1745de2ef7" providerId="ADAL" clId="{F41CC25D-48DC-4BCD-A52A-19ED387F254C}" dt="2023-11-27T02:52:33.610" v="1984" actId="552"/>
          <ac:spMkLst>
            <pc:docMk/>
            <pc:sldMk cId="4149732360" sldId="2147472155"/>
            <ac:spMk id="25" creationId="{817C4DC2-E776-CB8B-4690-CA07D29BD082}"/>
          </ac:spMkLst>
        </pc:spChg>
        <pc:spChg chg="mod">
          <ac:chgData name="Wang, Timothy J." userId="be135309-baa1-4715-99f0-6a1745de2ef7" providerId="ADAL" clId="{F41CC25D-48DC-4BCD-A52A-19ED387F254C}" dt="2023-11-27T02:40:16.708" v="1907" actId="571"/>
          <ac:spMkLst>
            <pc:docMk/>
            <pc:sldMk cId="4149732360" sldId="2147472155"/>
            <ac:spMk id="29" creationId="{DE3573CF-09BE-954D-2AA7-D5A88CA2C35A}"/>
          </ac:spMkLst>
        </pc:spChg>
        <pc:spChg chg="mod">
          <ac:chgData name="Wang, Timothy J." userId="be135309-baa1-4715-99f0-6a1745de2ef7" providerId="ADAL" clId="{F41CC25D-48DC-4BCD-A52A-19ED387F254C}" dt="2023-11-27T02:40:16.708" v="1907" actId="571"/>
          <ac:spMkLst>
            <pc:docMk/>
            <pc:sldMk cId="4149732360" sldId="2147472155"/>
            <ac:spMk id="30" creationId="{DE210D2A-451A-CF0A-0E23-75911A858B85}"/>
          </ac:spMkLst>
        </pc:spChg>
        <pc:spChg chg="mod">
          <ac:chgData name="Wang, Timothy J." userId="be135309-baa1-4715-99f0-6a1745de2ef7" providerId="ADAL" clId="{F41CC25D-48DC-4BCD-A52A-19ED387F254C}" dt="2023-11-27T04:07:04.465" v="2560"/>
          <ac:spMkLst>
            <pc:docMk/>
            <pc:sldMk cId="4149732360" sldId="2147472155"/>
            <ac:spMk id="31" creationId="{5228A3F5-BFE9-7DBC-3DAE-E8D14FB017B3}"/>
          </ac:spMkLst>
        </pc:spChg>
        <pc:spChg chg="mod">
          <ac:chgData name="Wang, Timothy J." userId="be135309-baa1-4715-99f0-6a1745de2ef7" providerId="ADAL" clId="{F41CC25D-48DC-4BCD-A52A-19ED387F254C}" dt="2023-11-27T02:40:16.708" v="1907" actId="571"/>
          <ac:spMkLst>
            <pc:docMk/>
            <pc:sldMk cId="4149732360" sldId="2147472155"/>
            <ac:spMk id="32" creationId="{2E4D501A-DF47-1849-A9B9-A11ACAEFF099}"/>
          </ac:spMkLst>
        </pc:spChg>
        <pc:spChg chg="mod">
          <ac:chgData name="Wang, Timothy J." userId="be135309-baa1-4715-99f0-6a1745de2ef7" providerId="ADAL" clId="{F41CC25D-48DC-4BCD-A52A-19ED387F254C}" dt="2023-11-27T02:40:16.708" v="1907" actId="571"/>
          <ac:spMkLst>
            <pc:docMk/>
            <pc:sldMk cId="4149732360" sldId="2147472155"/>
            <ac:spMk id="34" creationId="{D93EF90B-B642-8120-A938-17DF6935D298}"/>
          </ac:spMkLst>
        </pc:spChg>
        <pc:spChg chg="mod">
          <ac:chgData name="Wang, Timothy J." userId="be135309-baa1-4715-99f0-6a1745de2ef7" providerId="ADAL" clId="{F41CC25D-48DC-4BCD-A52A-19ED387F254C}" dt="2023-11-27T02:40:16.708" v="1907" actId="571"/>
          <ac:spMkLst>
            <pc:docMk/>
            <pc:sldMk cId="4149732360" sldId="2147472155"/>
            <ac:spMk id="35" creationId="{5BE120BA-49AC-82A2-CF6D-434086B463D8}"/>
          </ac:spMkLst>
        </pc:spChg>
        <pc:spChg chg="mod">
          <ac:chgData name="Wang, Timothy J." userId="be135309-baa1-4715-99f0-6a1745de2ef7" providerId="ADAL" clId="{F41CC25D-48DC-4BCD-A52A-19ED387F254C}" dt="2023-11-27T02:40:16.708" v="1907" actId="571"/>
          <ac:spMkLst>
            <pc:docMk/>
            <pc:sldMk cId="4149732360" sldId="2147472155"/>
            <ac:spMk id="36" creationId="{EBB5ED9F-32AD-A455-EDB4-1FFF0351529C}"/>
          </ac:spMkLst>
        </pc:spChg>
        <pc:spChg chg="mod">
          <ac:chgData name="Wang, Timothy J." userId="be135309-baa1-4715-99f0-6a1745de2ef7" providerId="ADAL" clId="{F41CC25D-48DC-4BCD-A52A-19ED387F254C}" dt="2023-11-27T02:40:51.238" v="1931" actId="1076"/>
          <ac:spMkLst>
            <pc:docMk/>
            <pc:sldMk cId="4149732360" sldId="2147472155"/>
            <ac:spMk id="38" creationId="{672AA09A-370E-2C75-CE8D-923F10B627FC}"/>
          </ac:spMkLst>
        </pc:spChg>
        <pc:grpChg chg="mod">
          <ac:chgData name="Wang, Timothy J." userId="be135309-baa1-4715-99f0-6a1745de2ef7" providerId="ADAL" clId="{F41CC25D-48DC-4BCD-A52A-19ED387F254C}" dt="2023-11-27T02:40:38.867" v="1929" actId="1076"/>
          <ac:grpSpMkLst>
            <pc:docMk/>
            <pc:sldMk cId="4149732360" sldId="2147472155"/>
            <ac:grpSpMk id="37" creationId="{4A479716-7D70-FBB0-6C49-B3A40E7A9F1E}"/>
          </ac:grpSpMkLst>
        </pc:grpChg>
      </pc:sldChg>
      <pc:sldChg chg="addSp delSp modSp mod modTransition">
        <pc:chgData name="Wang, Timothy J." userId="be135309-baa1-4715-99f0-6a1745de2ef7" providerId="ADAL" clId="{F41CC25D-48DC-4BCD-A52A-19ED387F254C}" dt="2023-11-21T08:13:29.741" v="1377"/>
        <pc:sldMkLst>
          <pc:docMk/>
          <pc:sldMk cId="2977111391" sldId="2147472156"/>
        </pc:sldMkLst>
        <pc:spChg chg="add mod">
          <ac:chgData name="Wang, Timothy J." userId="be135309-baa1-4715-99f0-6a1745de2ef7" providerId="ADAL" clId="{F41CC25D-48DC-4BCD-A52A-19ED387F254C}" dt="2023-11-15T02:40:54.236" v="509" actId="554"/>
          <ac:spMkLst>
            <pc:docMk/>
            <pc:sldMk cId="2977111391" sldId="2147472156"/>
            <ac:spMk id="4" creationId="{E9B6811E-A892-FBE6-B3CC-57C9628D0452}"/>
          </ac:spMkLst>
        </pc:spChg>
        <pc:spChg chg="mod">
          <ac:chgData name="Wang, Timothy J." userId="be135309-baa1-4715-99f0-6a1745de2ef7" providerId="ADAL" clId="{F41CC25D-48DC-4BCD-A52A-19ED387F254C}" dt="2023-11-15T03:16:39.693" v="834"/>
          <ac:spMkLst>
            <pc:docMk/>
            <pc:sldMk cId="2977111391" sldId="2147472156"/>
            <ac:spMk id="15" creationId="{28FC2BF6-BD85-C83C-4EA6-1869CE385E7C}"/>
          </ac:spMkLst>
        </pc:spChg>
        <pc:spChg chg="mod">
          <ac:chgData name="Wang, Timothy J." userId="be135309-baa1-4715-99f0-6a1745de2ef7" providerId="ADAL" clId="{F41CC25D-48DC-4BCD-A52A-19ED387F254C}" dt="2023-11-15T02:40:54.236" v="509" actId="554"/>
          <ac:spMkLst>
            <pc:docMk/>
            <pc:sldMk cId="2977111391" sldId="2147472156"/>
            <ac:spMk id="18" creationId="{E3ECA638-48A3-01D2-5319-381A0D790CF8}"/>
          </ac:spMkLst>
        </pc:spChg>
        <pc:spChg chg="mod">
          <ac:chgData name="Wang, Timothy J." userId="be135309-baa1-4715-99f0-6a1745de2ef7" providerId="ADAL" clId="{F41CC25D-48DC-4BCD-A52A-19ED387F254C}" dt="2023-11-15T02:40:56.643" v="510" actId="408"/>
          <ac:spMkLst>
            <pc:docMk/>
            <pc:sldMk cId="2977111391" sldId="2147472156"/>
            <ac:spMk id="20" creationId="{0418F9E5-573E-1272-8ED0-B5AAB2446C1E}"/>
          </ac:spMkLst>
        </pc:spChg>
        <pc:spChg chg="mod">
          <ac:chgData name="Wang, Timothy J." userId="be135309-baa1-4715-99f0-6a1745de2ef7" providerId="ADAL" clId="{F41CC25D-48DC-4BCD-A52A-19ED387F254C}" dt="2023-11-15T02:40:56.643" v="510" actId="408"/>
          <ac:spMkLst>
            <pc:docMk/>
            <pc:sldMk cId="2977111391" sldId="2147472156"/>
            <ac:spMk id="45" creationId="{2E29E028-70F2-40BB-10D6-17A95C279685}"/>
          </ac:spMkLst>
        </pc:spChg>
        <pc:spChg chg="mod">
          <ac:chgData name="Wang, Timothy J." userId="be135309-baa1-4715-99f0-6a1745de2ef7" providerId="ADAL" clId="{F41CC25D-48DC-4BCD-A52A-19ED387F254C}" dt="2023-11-21T08:13:29.741" v="1377"/>
          <ac:spMkLst>
            <pc:docMk/>
            <pc:sldMk cId="2977111391" sldId="2147472156"/>
            <ac:spMk id="52" creationId="{F5E8A9A7-606B-E69E-A5F0-CFA23B7D2156}"/>
          </ac:spMkLst>
        </pc:spChg>
        <pc:cxnChg chg="add mod ord">
          <ac:chgData name="Wang, Timothy J." userId="be135309-baa1-4715-99f0-6a1745de2ef7" providerId="ADAL" clId="{F41CC25D-48DC-4BCD-A52A-19ED387F254C}" dt="2023-11-15T02:44:11.637" v="542" actId="167"/>
          <ac:cxnSpMkLst>
            <pc:docMk/>
            <pc:sldMk cId="2977111391" sldId="2147472156"/>
            <ac:cxnSpMk id="7" creationId="{D6125DC9-4CF0-62E9-0B92-B1C5003D40DD}"/>
          </ac:cxnSpMkLst>
        </pc:cxnChg>
        <pc:cxnChg chg="del mod">
          <ac:chgData name="Wang, Timothy J." userId="be135309-baa1-4715-99f0-6a1745de2ef7" providerId="ADAL" clId="{F41CC25D-48DC-4BCD-A52A-19ED387F254C}" dt="2023-11-15T02:43:58.827" v="539" actId="478"/>
          <ac:cxnSpMkLst>
            <pc:docMk/>
            <pc:sldMk cId="2977111391" sldId="2147472156"/>
            <ac:cxnSpMk id="16" creationId="{1394978A-972B-FFA7-77E7-3955ECBA1CCD}"/>
          </ac:cxnSpMkLst>
        </pc:cxnChg>
        <pc:cxnChg chg="mod">
          <ac:chgData name="Wang, Timothy J." userId="be135309-baa1-4715-99f0-6a1745de2ef7" providerId="ADAL" clId="{F41CC25D-48DC-4BCD-A52A-19ED387F254C}" dt="2023-11-15T02:40:54.236" v="509" actId="554"/>
          <ac:cxnSpMkLst>
            <pc:docMk/>
            <pc:sldMk cId="2977111391" sldId="2147472156"/>
            <ac:cxnSpMk id="17" creationId="{8FEAE9C5-54CA-2029-DD1C-9A8BD4E7B991}"/>
          </ac:cxnSpMkLst>
        </pc:cxnChg>
      </pc:sldChg>
      <pc:sldChg chg="addSp delSp modSp mod modTransition">
        <pc:chgData name="Wang, Timothy J." userId="be135309-baa1-4715-99f0-6a1745de2ef7" providerId="ADAL" clId="{F41CC25D-48DC-4BCD-A52A-19ED387F254C}" dt="2023-11-27T04:07:04.465" v="2560"/>
        <pc:sldMkLst>
          <pc:docMk/>
          <pc:sldMk cId="1258994557" sldId="2147472157"/>
        </pc:sldMkLst>
        <pc:spChg chg="add mod">
          <ac:chgData name="Wang, Timothy J." userId="be135309-baa1-4715-99f0-6a1745de2ef7" providerId="ADAL" clId="{F41CC25D-48DC-4BCD-A52A-19ED387F254C}" dt="2023-11-27T02:44:28.726" v="1952"/>
          <ac:spMkLst>
            <pc:docMk/>
            <pc:sldMk cId="1258994557" sldId="2147472157"/>
            <ac:spMk id="4" creationId="{17F5C5E6-6CF4-E63E-EC30-B46B194EC20E}"/>
          </ac:spMkLst>
        </pc:spChg>
        <pc:spChg chg="add mod">
          <ac:chgData name="Wang, Timothy J." userId="be135309-baa1-4715-99f0-6a1745de2ef7" providerId="ADAL" clId="{F41CC25D-48DC-4BCD-A52A-19ED387F254C}" dt="2023-11-27T02:44:28.726" v="1952"/>
          <ac:spMkLst>
            <pc:docMk/>
            <pc:sldMk cId="1258994557" sldId="2147472157"/>
            <ac:spMk id="5" creationId="{26790BE3-0F2E-7B4A-DD17-CD75201B2521}"/>
          </ac:spMkLst>
        </pc:spChg>
        <pc:spChg chg="add mod">
          <ac:chgData name="Wang, Timothy J." userId="be135309-baa1-4715-99f0-6a1745de2ef7" providerId="ADAL" clId="{F41CC25D-48DC-4BCD-A52A-19ED387F254C}" dt="2023-11-27T02:44:28.726" v="1952"/>
          <ac:spMkLst>
            <pc:docMk/>
            <pc:sldMk cId="1258994557" sldId="2147472157"/>
            <ac:spMk id="6" creationId="{D9088F75-D8AC-BB1A-D217-3061D1A6C36B}"/>
          </ac:spMkLst>
        </pc:spChg>
        <pc:spChg chg="add mod">
          <ac:chgData name="Wang, Timothy J." userId="be135309-baa1-4715-99f0-6a1745de2ef7" providerId="ADAL" clId="{F41CC25D-48DC-4BCD-A52A-19ED387F254C}" dt="2023-11-27T02:44:28.726" v="1952"/>
          <ac:spMkLst>
            <pc:docMk/>
            <pc:sldMk cId="1258994557" sldId="2147472157"/>
            <ac:spMk id="7" creationId="{BFC0342E-D76C-F7E8-F01D-3DF19F743A83}"/>
          </ac:spMkLst>
        </pc:spChg>
        <pc:spChg chg="add mod">
          <ac:chgData name="Wang, Timothy J." userId="be135309-baa1-4715-99f0-6a1745de2ef7" providerId="ADAL" clId="{F41CC25D-48DC-4BCD-A52A-19ED387F254C}" dt="2023-11-27T04:07:04.465" v="2560"/>
          <ac:spMkLst>
            <pc:docMk/>
            <pc:sldMk cId="1258994557" sldId="2147472157"/>
            <ac:spMk id="8" creationId="{0D03B23E-D8D4-4CE3-7D79-1863DB52D497}"/>
          </ac:spMkLst>
        </pc:spChg>
        <pc:spChg chg="add mod">
          <ac:chgData name="Wang, Timothy J." userId="be135309-baa1-4715-99f0-6a1745de2ef7" providerId="ADAL" clId="{F41CC25D-48DC-4BCD-A52A-19ED387F254C}" dt="2023-11-27T02:44:28.726" v="1952"/>
          <ac:spMkLst>
            <pc:docMk/>
            <pc:sldMk cId="1258994557" sldId="2147472157"/>
            <ac:spMk id="9" creationId="{6B82E4F9-3202-5444-D713-661CA2EF5A20}"/>
          </ac:spMkLst>
        </pc:spChg>
        <pc:spChg chg="mod">
          <ac:chgData name="Wang, Timothy J." userId="be135309-baa1-4715-99f0-6a1745de2ef7" providerId="ADAL" clId="{F41CC25D-48DC-4BCD-A52A-19ED387F254C}" dt="2023-11-15T03:16:49.610" v="854"/>
          <ac:spMkLst>
            <pc:docMk/>
            <pc:sldMk cId="1258994557" sldId="2147472157"/>
            <ac:spMk id="22" creationId="{9FD3CCAF-88D4-D75E-6038-BFFF2053121A}"/>
          </ac:spMkLst>
        </pc:spChg>
        <pc:spChg chg="del">
          <ac:chgData name="Wang, Timothy J." userId="be135309-baa1-4715-99f0-6a1745de2ef7" providerId="ADAL" clId="{F41CC25D-48DC-4BCD-A52A-19ED387F254C}" dt="2023-11-27T02:44:27.771" v="1951" actId="478"/>
          <ac:spMkLst>
            <pc:docMk/>
            <pc:sldMk cId="1258994557" sldId="2147472157"/>
            <ac:spMk id="25" creationId="{633A83E1-EF9C-1C10-F019-A192397C6BFA}"/>
          </ac:spMkLst>
        </pc:spChg>
        <pc:spChg chg="del">
          <ac:chgData name="Wang, Timothy J." userId="be135309-baa1-4715-99f0-6a1745de2ef7" providerId="ADAL" clId="{F41CC25D-48DC-4BCD-A52A-19ED387F254C}" dt="2023-11-27T02:44:20.275" v="1948" actId="478"/>
          <ac:spMkLst>
            <pc:docMk/>
            <pc:sldMk cId="1258994557" sldId="2147472157"/>
            <ac:spMk id="26" creationId="{CC1FB94F-39F7-B0A8-8094-14234D7030F0}"/>
          </ac:spMkLst>
        </pc:spChg>
        <pc:spChg chg="del">
          <ac:chgData name="Wang, Timothy J." userId="be135309-baa1-4715-99f0-6a1745de2ef7" providerId="ADAL" clId="{F41CC25D-48DC-4BCD-A52A-19ED387F254C}" dt="2023-11-27T02:44:27.771" v="1951" actId="478"/>
          <ac:spMkLst>
            <pc:docMk/>
            <pc:sldMk cId="1258994557" sldId="2147472157"/>
            <ac:spMk id="28" creationId="{69575CDF-3F41-FCE0-2F37-2A6781C4A85F}"/>
          </ac:spMkLst>
        </pc:spChg>
        <pc:spChg chg="del">
          <ac:chgData name="Wang, Timothy J." userId="be135309-baa1-4715-99f0-6a1745de2ef7" providerId="ADAL" clId="{F41CC25D-48DC-4BCD-A52A-19ED387F254C}" dt="2023-11-27T02:44:27.771" v="1951" actId="478"/>
          <ac:spMkLst>
            <pc:docMk/>
            <pc:sldMk cId="1258994557" sldId="2147472157"/>
            <ac:spMk id="38" creationId="{6EBFFFF8-0525-89A0-5109-9FDC4E30209A}"/>
          </ac:spMkLst>
        </pc:spChg>
        <pc:spChg chg="del">
          <ac:chgData name="Wang, Timothy J." userId="be135309-baa1-4715-99f0-6a1745de2ef7" providerId="ADAL" clId="{F41CC25D-48DC-4BCD-A52A-19ED387F254C}" dt="2023-11-27T02:44:27.771" v="1951" actId="478"/>
          <ac:spMkLst>
            <pc:docMk/>
            <pc:sldMk cId="1258994557" sldId="2147472157"/>
            <ac:spMk id="39" creationId="{9D65EF7E-C34F-A964-DEA1-CDFFDAC79E41}"/>
          </ac:spMkLst>
        </pc:spChg>
        <pc:graphicFrameChg chg="mod modGraphic">
          <ac:chgData name="Wang, Timothy J." userId="be135309-baa1-4715-99f0-6a1745de2ef7" providerId="ADAL" clId="{F41CC25D-48DC-4BCD-A52A-19ED387F254C}" dt="2023-11-27T04:07:04.465" v="2560"/>
          <ac:graphicFrameMkLst>
            <pc:docMk/>
            <pc:sldMk cId="1258994557" sldId="2147472157"/>
            <ac:graphicFrameMk id="61" creationId="{3A313EC9-5800-CD2D-44F0-3C717BA66C61}"/>
          </ac:graphicFrameMkLst>
        </pc:graphicFrameChg>
        <pc:cxnChg chg="add mod">
          <ac:chgData name="Wang, Timothy J." userId="be135309-baa1-4715-99f0-6a1745de2ef7" providerId="ADAL" clId="{F41CC25D-48DC-4BCD-A52A-19ED387F254C}" dt="2023-11-27T02:44:28.726" v="1952"/>
          <ac:cxnSpMkLst>
            <pc:docMk/>
            <pc:sldMk cId="1258994557" sldId="2147472157"/>
            <ac:cxnSpMk id="3" creationId="{8E9EA653-2672-A42D-2A06-FBF891F86746}"/>
          </ac:cxnSpMkLst>
        </pc:cxnChg>
        <pc:cxnChg chg="add mod ord">
          <ac:chgData name="Wang, Timothy J." userId="be135309-baa1-4715-99f0-6a1745de2ef7" providerId="ADAL" clId="{F41CC25D-48DC-4BCD-A52A-19ED387F254C}" dt="2023-11-27T03:01:31.328" v="2046" actId="167"/>
          <ac:cxnSpMkLst>
            <pc:docMk/>
            <pc:sldMk cId="1258994557" sldId="2147472157"/>
            <ac:cxnSpMk id="10" creationId="{A70185D7-F554-ADF7-EFA5-75B227A486CF}"/>
          </ac:cxnSpMkLst>
        </pc:cxnChg>
        <pc:cxnChg chg="del mod">
          <ac:chgData name="Wang, Timothy J." userId="be135309-baa1-4715-99f0-6a1745de2ef7" providerId="ADAL" clId="{F41CC25D-48DC-4BCD-A52A-19ED387F254C}" dt="2023-11-27T02:44:21.565" v="1949" actId="478"/>
          <ac:cxnSpMkLst>
            <pc:docMk/>
            <pc:sldMk cId="1258994557" sldId="2147472157"/>
            <ac:cxnSpMk id="14" creationId="{2E58CA72-CF91-9886-BF90-CE46303E7991}"/>
          </ac:cxnSpMkLst>
        </pc:cxnChg>
        <pc:cxnChg chg="del mod">
          <ac:chgData name="Wang, Timothy J." userId="be135309-baa1-4715-99f0-6a1745de2ef7" providerId="ADAL" clId="{F41CC25D-48DC-4BCD-A52A-19ED387F254C}" dt="2023-11-27T02:44:22.630" v="1950" actId="478"/>
          <ac:cxnSpMkLst>
            <pc:docMk/>
            <pc:sldMk cId="1258994557" sldId="2147472157"/>
            <ac:cxnSpMk id="56" creationId="{4234CB88-78BA-136C-7383-79B6014963EE}"/>
          </ac:cxnSpMkLst>
        </pc:cxnChg>
      </pc:sldChg>
      <pc:sldChg chg="addSp delSp modSp mod modTransition">
        <pc:chgData name="Wang, Timothy J." userId="be135309-baa1-4715-99f0-6a1745de2ef7" providerId="ADAL" clId="{F41CC25D-48DC-4BCD-A52A-19ED387F254C}" dt="2023-11-27T04:07:04.465" v="2560"/>
        <pc:sldMkLst>
          <pc:docMk/>
          <pc:sldMk cId="2235768697" sldId="2147472158"/>
        </pc:sldMkLst>
        <pc:spChg chg="mod">
          <ac:chgData name="Wang, Timothy J." userId="be135309-baa1-4715-99f0-6a1745de2ef7" providerId="ADAL" clId="{F41CC25D-48DC-4BCD-A52A-19ED387F254C}" dt="2023-11-15T03:16:27.566" v="814"/>
          <ac:spMkLst>
            <pc:docMk/>
            <pc:sldMk cId="2235768697" sldId="2147472158"/>
            <ac:spMk id="2" creationId="{E02AFBEB-E937-AB98-285E-978827EB83BE}"/>
          </ac:spMkLst>
        </pc:spChg>
        <pc:spChg chg="add mod">
          <ac:chgData name="Wang, Timothy J." userId="be135309-baa1-4715-99f0-6a1745de2ef7" providerId="ADAL" clId="{F41CC25D-48DC-4BCD-A52A-19ED387F254C}" dt="2023-11-15T03:14:11.757" v="713"/>
          <ac:spMkLst>
            <pc:docMk/>
            <pc:sldMk cId="2235768697" sldId="2147472158"/>
            <ac:spMk id="5" creationId="{5FF7A657-35DF-A9E1-E3F9-85B6103CB1E7}"/>
          </ac:spMkLst>
        </pc:spChg>
        <pc:spChg chg="add mod">
          <ac:chgData name="Wang, Timothy J." userId="be135309-baa1-4715-99f0-6a1745de2ef7" providerId="ADAL" clId="{F41CC25D-48DC-4BCD-A52A-19ED387F254C}" dt="2023-11-15T02:44:39.836" v="550"/>
          <ac:spMkLst>
            <pc:docMk/>
            <pc:sldMk cId="2235768697" sldId="2147472158"/>
            <ac:spMk id="9" creationId="{62470C77-D920-F898-E24B-63CF6864EF17}"/>
          </ac:spMkLst>
        </pc:spChg>
        <pc:spChg chg="add mod">
          <ac:chgData name="Wang, Timothy J." userId="be135309-baa1-4715-99f0-6a1745de2ef7" providerId="ADAL" clId="{F41CC25D-48DC-4BCD-A52A-19ED387F254C}" dt="2023-11-15T02:44:39.836" v="550"/>
          <ac:spMkLst>
            <pc:docMk/>
            <pc:sldMk cId="2235768697" sldId="2147472158"/>
            <ac:spMk id="10" creationId="{C3CAB30F-2181-6F97-A330-10B5E79FFD9A}"/>
          </ac:spMkLst>
        </pc:spChg>
        <pc:spChg chg="add mod">
          <ac:chgData name="Wang, Timothy J." userId="be135309-baa1-4715-99f0-6a1745de2ef7" providerId="ADAL" clId="{F41CC25D-48DC-4BCD-A52A-19ED387F254C}" dt="2023-11-15T02:44:39.836" v="550"/>
          <ac:spMkLst>
            <pc:docMk/>
            <pc:sldMk cId="2235768697" sldId="2147472158"/>
            <ac:spMk id="11" creationId="{CAA93B72-AEEC-2E0A-1202-E6C0072AE1E1}"/>
          </ac:spMkLst>
        </pc:spChg>
        <pc:spChg chg="mod">
          <ac:chgData name="Wang, Timothy J." userId="be135309-baa1-4715-99f0-6a1745de2ef7" providerId="ADAL" clId="{F41CC25D-48DC-4BCD-A52A-19ED387F254C}" dt="2023-11-15T03:16:23.357" v="804"/>
          <ac:spMkLst>
            <pc:docMk/>
            <pc:sldMk cId="2235768697" sldId="2147472158"/>
            <ac:spMk id="15" creationId="{28FC2BF6-BD85-C83C-4EA6-1869CE385E7C}"/>
          </ac:spMkLst>
        </pc:spChg>
        <pc:spChg chg="add del mod">
          <ac:chgData name="Wang, Timothy J." userId="be135309-baa1-4715-99f0-6a1745de2ef7" providerId="ADAL" clId="{F41CC25D-48DC-4BCD-A52A-19ED387F254C}" dt="2023-11-15T02:44:43.209" v="551" actId="478"/>
          <ac:spMkLst>
            <pc:docMk/>
            <pc:sldMk cId="2235768697" sldId="2147472158"/>
            <ac:spMk id="16" creationId="{2D909725-3B0D-36E5-4065-53C8C3EA1749}"/>
          </ac:spMkLst>
        </pc:spChg>
        <pc:spChg chg="del mod">
          <ac:chgData name="Wang, Timothy J." userId="be135309-baa1-4715-99f0-6a1745de2ef7" providerId="ADAL" clId="{F41CC25D-48DC-4BCD-A52A-19ED387F254C}" dt="2023-11-15T02:44:35.941" v="544" actId="478"/>
          <ac:spMkLst>
            <pc:docMk/>
            <pc:sldMk cId="2235768697" sldId="2147472158"/>
            <ac:spMk id="32" creationId="{D645BCEC-1794-0517-C241-4CFF81B86FFF}"/>
          </ac:spMkLst>
        </pc:spChg>
        <pc:spChg chg="del mod">
          <ac:chgData name="Wang, Timothy J." userId="be135309-baa1-4715-99f0-6a1745de2ef7" providerId="ADAL" clId="{F41CC25D-48DC-4BCD-A52A-19ED387F254C}" dt="2023-11-15T02:44:36.716" v="545" actId="478"/>
          <ac:spMkLst>
            <pc:docMk/>
            <pc:sldMk cId="2235768697" sldId="2147472158"/>
            <ac:spMk id="33" creationId="{6018C8AD-84CB-460E-A743-846FBE5ADC6D}"/>
          </ac:spMkLst>
        </pc:spChg>
        <pc:spChg chg="del mod">
          <ac:chgData name="Wang, Timothy J." userId="be135309-baa1-4715-99f0-6a1745de2ef7" providerId="ADAL" clId="{F41CC25D-48DC-4BCD-A52A-19ED387F254C}" dt="2023-11-15T02:44:38.974" v="548" actId="478"/>
          <ac:spMkLst>
            <pc:docMk/>
            <pc:sldMk cId="2235768697" sldId="2147472158"/>
            <ac:spMk id="34" creationId="{92410B6C-40D4-11C7-CA22-6D2B3FA4CEBA}"/>
          </ac:spMkLst>
        </pc:spChg>
        <pc:spChg chg="del mod">
          <ac:chgData name="Wang, Timothy J." userId="be135309-baa1-4715-99f0-6a1745de2ef7" providerId="ADAL" clId="{F41CC25D-48DC-4BCD-A52A-19ED387F254C}" dt="2023-11-15T02:44:22.540" v="543" actId="478"/>
          <ac:spMkLst>
            <pc:docMk/>
            <pc:sldMk cId="2235768697" sldId="2147472158"/>
            <ac:spMk id="40" creationId="{B72B0605-C4AD-E9B3-D1CD-40B57B833434}"/>
          </ac:spMkLst>
        </pc:spChg>
        <pc:spChg chg="mod">
          <ac:chgData name="Wang, Timothy J." userId="be135309-baa1-4715-99f0-6a1745de2ef7" providerId="ADAL" clId="{F41CC25D-48DC-4BCD-A52A-19ED387F254C}" dt="2023-11-27T04:07:04.465" v="2560"/>
          <ac:spMkLst>
            <pc:docMk/>
            <pc:sldMk cId="2235768697" sldId="2147472158"/>
            <ac:spMk id="55" creationId="{4655876F-9A13-6AE5-57CC-64F8C6F29907}"/>
          </ac:spMkLst>
        </pc:spChg>
        <pc:spChg chg="mod">
          <ac:chgData name="Wang, Timothy J." userId="be135309-baa1-4715-99f0-6a1745de2ef7" providerId="ADAL" clId="{F41CC25D-48DC-4BCD-A52A-19ED387F254C}" dt="2023-11-15T03:13:31.871" v="635"/>
          <ac:spMkLst>
            <pc:docMk/>
            <pc:sldMk cId="2235768697" sldId="2147472158"/>
            <ac:spMk id="62" creationId="{DF0E7B7D-E558-1DD9-0275-431A628390AA}"/>
          </ac:spMkLst>
        </pc:spChg>
        <pc:cxnChg chg="add mod">
          <ac:chgData name="Wang, Timothy J." userId="be135309-baa1-4715-99f0-6a1745de2ef7" providerId="ADAL" clId="{F41CC25D-48DC-4BCD-A52A-19ED387F254C}" dt="2023-11-15T02:44:43.209" v="551" actId="478"/>
          <ac:cxnSpMkLst>
            <pc:docMk/>
            <pc:sldMk cId="2235768697" sldId="2147472158"/>
            <ac:cxnSpMk id="7" creationId="{835156C4-EA9A-2A5F-2854-DE9B9FCF7D31}"/>
          </ac:cxnSpMkLst>
        </pc:cxnChg>
        <pc:cxnChg chg="add mod">
          <ac:chgData name="Wang, Timothy J." userId="be135309-baa1-4715-99f0-6a1745de2ef7" providerId="ADAL" clId="{F41CC25D-48DC-4BCD-A52A-19ED387F254C}" dt="2023-11-15T02:44:39.836" v="550"/>
          <ac:cxnSpMkLst>
            <pc:docMk/>
            <pc:sldMk cId="2235768697" sldId="2147472158"/>
            <ac:cxnSpMk id="8" creationId="{7894ED16-BC82-8533-2FFC-FF3AE09F5530}"/>
          </ac:cxnSpMkLst>
        </pc:cxnChg>
        <pc:cxnChg chg="del mod">
          <ac:chgData name="Wang, Timothy J." userId="be135309-baa1-4715-99f0-6a1745de2ef7" providerId="ADAL" clId="{F41CC25D-48DC-4BCD-A52A-19ED387F254C}" dt="2023-11-15T02:44:37.356" v="546" actId="478"/>
          <ac:cxnSpMkLst>
            <pc:docMk/>
            <pc:sldMk cId="2235768697" sldId="2147472158"/>
            <ac:cxnSpMk id="30" creationId="{29F0D9E7-FE32-3500-94F3-A2286508B4F0}"/>
          </ac:cxnSpMkLst>
        </pc:cxnChg>
        <pc:cxnChg chg="del mod">
          <ac:chgData name="Wang, Timothy J." userId="be135309-baa1-4715-99f0-6a1745de2ef7" providerId="ADAL" clId="{F41CC25D-48DC-4BCD-A52A-19ED387F254C}" dt="2023-11-15T02:44:38.276" v="547" actId="478"/>
          <ac:cxnSpMkLst>
            <pc:docMk/>
            <pc:sldMk cId="2235768697" sldId="2147472158"/>
            <ac:cxnSpMk id="31" creationId="{BE407BD6-BF08-E90B-978B-23AC805C2B6D}"/>
          </ac:cxnSpMkLst>
        </pc:cxnChg>
      </pc:sldChg>
      <pc:sldChg chg="modSp mod modTransition">
        <pc:chgData name="Wang, Timothy J." userId="be135309-baa1-4715-99f0-6a1745de2ef7" providerId="ADAL" clId="{F41CC25D-48DC-4BCD-A52A-19ED387F254C}" dt="2023-11-28T08:52:38.316" v="2575"/>
        <pc:sldMkLst>
          <pc:docMk/>
          <pc:sldMk cId="2237123507" sldId="2147472159"/>
        </pc:sldMkLst>
        <pc:spChg chg="mod">
          <ac:chgData name="Wang, Timothy J." userId="be135309-baa1-4715-99f0-6a1745de2ef7" providerId="ADAL" clId="{F41CC25D-48DC-4BCD-A52A-19ED387F254C}" dt="2023-11-27T04:07:04.465" v="2560"/>
          <ac:spMkLst>
            <pc:docMk/>
            <pc:sldMk cId="2237123507" sldId="2147472159"/>
            <ac:spMk id="5" creationId="{F5B2FDFB-BCA1-1DAD-B0E9-E6FB221BF829}"/>
          </ac:spMkLst>
        </pc:spChg>
        <pc:spChg chg="mod">
          <ac:chgData name="Wang, Timothy J." userId="be135309-baa1-4715-99f0-6a1745de2ef7" providerId="ADAL" clId="{F41CC25D-48DC-4BCD-A52A-19ED387F254C}" dt="2023-11-28T08:52:38.316" v="2575"/>
          <ac:spMkLst>
            <pc:docMk/>
            <pc:sldMk cId="2237123507" sldId="2147472159"/>
            <ac:spMk id="23" creationId="{45CA41D8-3706-FF7D-5F29-2E0926876CED}"/>
          </ac:spMkLst>
        </pc:spChg>
        <pc:spChg chg="mod">
          <ac:chgData name="Wang, Timothy J." userId="be135309-baa1-4715-99f0-6a1745de2ef7" providerId="ADAL" clId="{F41CC25D-48DC-4BCD-A52A-19ED387F254C}" dt="2023-11-21T08:42:51.158" v="1455"/>
          <ac:spMkLst>
            <pc:docMk/>
            <pc:sldMk cId="2237123507" sldId="2147472159"/>
            <ac:spMk id="24" creationId="{52103CDC-0459-B235-F7CA-9BF040F7B2DE}"/>
          </ac:spMkLst>
        </pc:spChg>
      </pc:sldChg>
      <pc:sldChg chg="addSp modSp mod modTransition">
        <pc:chgData name="Wang, Timothy J." userId="be135309-baa1-4715-99f0-6a1745de2ef7" providerId="ADAL" clId="{F41CC25D-48DC-4BCD-A52A-19ED387F254C}" dt="2023-11-27T04:07:04.465" v="2560"/>
        <pc:sldMkLst>
          <pc:docMk/>
          <pc:sldMk cId="1606314092" sldId="2147472160"/>
        </pc:sldMkLst>
        <pc:spChg chg="mod">
          <ac:chgData name="Wang, Timothy J." userId="be135309-baa1-4715-99f0-6a1745de2ef7" providerId="ADAL" clId="{F41CC25D-48DC-4BCD-A52A-19ED387F254C}" dt="2023-11-27T03:27:05.859" v="2262" actId="14100"/>
          <ac:spMkLst>
            <pc:docMk/>
            <pc:sldMk cId="1606314092" sldId="2147472160"/>
            <ac:spMk id="5" creationId="{AE2E054C-03AA-DECA-AF94-FA617BC7FA1C}"/>
          </ac:spMkLst>
        </pc:spChg>
        <pc:spChg chg="mod">
          <ac:chgData name="Wang, Timothy J." userId="be135309-baa1-4715-99f0-6a1745de2ef7" providerId="ADAL" clId="{F41CC25D-48DC-4BCD-A52A-19ED387F254C}" dt="2023-11-27T03:27:27.755" v="2313" actId="1035"/>
          <ac:spMkLst>
            <pc:docMk/>
            <pc:sldMk cId="1606314092" sldId="2147472160"/>
            <ac:spMk id="6" creationId="{1D568DD7-A0DC-5639-94F4-002AA318055D}"/>
          </ac:spMkLst>
        </pc:spChg>
        <pc:spChg chg="mod">
          <ac:chgData name="Wang, Timothy J." userId="be135309-baa1-4715-99f0-6a1745de2ef7" providerId="ADAL" clId="{F41CC25D-48DC-4BCD-A52A-19ED387F254C}" dt="2023-11-27T03:27:32.603" v="2331" actId="1035"/>
          <ac:spMkLst>
            <pc:docMk/>
            <pc:sldMk cId="1606314092" sldId="2147472160"/>
            <ac:spMk id="7" creationId="{50ACC9DD-5DE5-C45B-7B8E-FEDC438C0034}"/>
          </ac:spMkLst>
        </pc:spChg>
        <pc:spChg chg="add mod">
          <ac:chgData name="Wang, Timothy J." userId="be135309-baa1-4715-99f0-6a1745de2ef7" providerId="ADAL" clId="{F41CC25D-48DC-4BCD-A52A-19ED387F254C}" dt="2023-11-27T03:27:18.584" v="2284" actId="14100"/>
          <ac:spMkLst>
            <pc:docMk/>
            <pc:sldMk cId="1606314092" sldId="2147472160"/>
            <ac:spMk id="8" creationId="{77B1B7B0-C225-1F23-9EAF-0C07F49745D7}"/>
          </ac:spMkLst>
        </pc:spChg>
        <pc:spChg chg="mod">
          <ac:chgData name="Wang, Timothy J." userId="be135309-baa1-4715-99f0-6a1745de2ef7" providerId="ADAL" clId="{F41CC25D-48DC-4BCD-A52A-19ED387F254C}" dt="2023-11-27T03:26:55.975" v="2260" actId="14100"/>
          <ac:spMkLst>
            <pc:docMk/>
            <pc:sldMk cId="1606314092" sldId="2147472160"/>
            <ac:spMk id="13" creationId="{2ECA58C9-89E8-122E-88C8-844A0F94DDFF}"/>
          </ac:spMkLst>
        </pc:spChg>
        <pc:spChg chg="mod">
          <ac:chgData name="Wang, Timothy J." userId="be135309-baa1-4715-99f0-6a1745de2ef7" providerId="ADAL" clId="{F41CC25D-48DC-4BCD-A52A-19ED387F254C}" dt="2023-11-27T03:27:22.784" v="2294" actId="1035"/>
          <ac:spMkLst>
            <pc:docMk/>
            <pc:sldMk cId="1606314092" sldId="2147472160"/>
            <ac:spMk id="14" creationId="{DAB44A3E-02E3-525C-F0A6-7A8C7D3D8AFF}"/>
          </ac:spMkLst>
        </pc:spChg>
        <pc:spChg chg="mod">
          <ac:chgData name="Wang, Timothy J." userId="be135309-baa1-4715-99f0-6a1745de2ef7" providerId="ADAL" clId="{F41CC25D-48DC-4BCD-A52A-19ED387F254C}" dt="2023-11-27T03:27:36.267" v="2344" actId="1035"/>
          <ac:spMkLst>
            <pc:docMk/>
            <pc:sldMk cId="1606314092" sldId="2147472160"/>
            <ac:spMk id="15" creationId="{142A39FD-A284-BA84-6DD5-1072F5A5A71F}"/>
          </ac:spMkLst>
        </pc:spChg>
        <pc:graphicFrameChg chg="mod modGraphic">
          <ac:chgData name="Wang, Timothy J." userId="be135309-baa1-4715-99f0-6a1745de2ef7" providerId="ADAL" clId="{F41CC25D-48DC-4BCD-A52A-19ED387F254C}" dt="2023-11-27T04:07:04.465" v="2560"/>
          <ac:graphicFrameMkLst>
            <pc:docMk/>
            <pc:sldMk cId="1606314092" sldId="2147472160"/>
            <ac:graphicFrameMk id="4" creationId="{87B2DBCF-D877-A417-2860-9DE26F1C811D}"/>
          </ac:graphicFrameMkLst>
        </pc:graphicFrameChg>
      </pc:sldChg>
      <pc:sldChg chg="addSp modSp mod modTransition modShow">
        <pc:chgData name="Wang, Timothy J." userId="be135309-baa1-4715-99f0-6a1745de2ef7" providerId="ADAL" clId="{F41CC25D-48DC-4BCD-A52A-19ED387F254C}" dt="2023-11-29T17:47:41.089" v="2577" actId="729"/>
        <pc:sldMkLst>
          <pc:docMk/>
          <pc:sldMk cId="616900208" sldId="2147472161"/>
        </pc:sldMkLst>
        <pc:spChg chg="mod">
          <ac:chgData name="Wang, Timothy J." userId="be135309-baa1-4715-99f0-6a1745de2ef7" providerId="ADAL" clId="{F41CC25D-48DC-4BCD-A52A-19ED387F254C}" dt="2023-11-27T04:07:04.465" v="2560"/>
          <ac:spMkLst>
            <pc:docMk/>
            <pc:sldMk cId="616900208" sldId="2147472161"/>
            <ac:spMk id="9" creationId="{31C1F90D-3C62-3AE6-28A9-4B0B9B547FA5}"/>
          </ac:spMkLst>
        </pc:spChg>
        <pc:spChg chg="add mod">
          <ac:chgData name="Wang, Timothy J." userId="be135309-baa1-4715-99f0-6a1745de2ef7" providerId="ADAL" clId="{F41CC25D-48DC-4BCD-A52A-19ED387F254C}" dt="2023-11-27T02:43:40.238" v="1945" actId="1037"/>
          <ac:spMkLst>
            <pc:docMk/>
            <pc:sldMk cId="616900208" sldId="2147472161"/>
            <ac:spMk id="13" creationId="{93CD2ED3-68C2-1B4D-498E-FBBADC784FA0}"/>
          </ac:spMkLst>
        </pc:spChg>
        <pc:spChg chg="mod">
          <ac:chgData name="Wang, Timothy J." userId="be135309-baa1-4715-99f0-6a1745de2ef7" providerId="ADAL" clId="{F41CC25D-48DC-4BCD-A52A-19ED387F254C}" dt="2023-11-15T03:16:45.401" v="844"/>
          <ac:spMkLst>
            <pc:docMk/>
            <pc:sldMk cId="616900208" sldId="2147472161"/>
            <ac:spMk id="22" creationId="{9FD3CCAF-88D4-D75E-6038-BFFF2053121A}"/>
          </ac:spMkLst>
        </pc:spChg>
        <pc:spChg chg="mod">
          <ac:chgData name="Wang, Timothy J." userId="be135309-baa1-4715-99f0-6a1745de2ef7" providerId="ADAL" clId="{F41CC25D-48DC-4BCD-A52A-19ED387F254C}" dt="2023-11-27T02:43:35.088" v="1939" actId="1038"/>
          <ac:spMkLst>
            <pc:docMk/>
            <pc:sldMk cId="616900208" sldId="2147472161"/>
            <ac:spMk id="25" creationId="{633A83E1-EF9C-1C10-F019-A192397C6BFA}"/>
          </ac:spMkLst>
        </pc:spChg>
        <pc:spChg chg="mod">
          <ac:chgData name="Wang, Timothy J." userId="be135309-baa1-4715-99f0-6a1745de2ef7" providerId="ADAL" clId="{F41CC25D-48DC-4BCD-A52A-19ED387F254C}" dt="2023-11-27T02:43:49.315" v="1946" actId="408"/>
          <ac:spMkLst>
            <pc:docMk/>
            <pc:sldMk cId="616900208" sldId="2147472161"/>
            <ac:spMk id="26" creationId="{CC1FB94F-39F7-B0A8-8094-14234D7030F0}"/>
          </ac:spMkLst>
        </pc:spChg>
        <pc:spChg chg="mod">
          <ac:chgData name="Wang, Timothy J." userId="be135309-baa1-4715-99f0-6a1745de2ef7" providerId="ADAL" clId="{F41CC25D-48DC-4BCD-A52A-19ED387F254C}" dt="2023-11-27T02:43:49.315" v="1946" actId="408"/>
          <ac:spMkLst>
            <pc:docMk/>
            <pc:sldMk cId="616900208" sldId="2147472161"/>
            <ac:spMk id="28" creationId="{69575CDF-3F41-FCE0-2F37-2A6781C4A85F}"/>
          </ac:spMkLst>
        </pc:spChg>
        <pc:spChg chg="mod">
          <ac:chgData name="Wang, Timothy J." userId="be135309-baa1-4715-99f0-6a1745de2ef7" providerId="ADAL" clId="{F41CC25D-48DC-4BCD-A52A-19ED387F254C}" dt="2023-11-27T02:43:49.315" v="1946" actId="408"/>
          <ac:spMkLst>
            <pc:docMk/>
            <pc:sldMk cId="616900208" sldId="2147472161"/>
            <ac:spMk id="38" creationId="{6EBFFFF8-0525-89A0-5109-9FDC4E30209A}"/>
          </ac:spMkLst>
        </pc:spChg>
        <pc:spChg chg="mod">
          <ac:chgData name="Wang, Timothy J." userId="be135309-baa1-4715-99f0-6a1745de2ef7" providerId="ADAL" clId="{F41CC25D-48DC-4BCD-A52A-19ED387F254C}" dt="2023-11-27T04:07:04.465" v="2560"/>
          <ac:spMkLst>
            <pc:docMk/>
            <pc:sldMk cId="616900208" sldId="2147472161"/>
            <ac:spMk id="39" creationId="{9D65EF7E-C34F-A964-DEA1-CDFFDAC79E41}"/>
          </ac:spMkLst>
        </pc:spChg>
        <pc:cxnChg chg="mod">
          <ac:chgData name="Wang, Timothy J." userId="be135309-baa1-4715-99f0-6a1745de2ef7" providerId="ADAL" clId="{F41CC25D-48DC-4BCD-A52A-19ED387F254C}" dt="2023-11-27T02:37:28.678" v="1765" actId="14100"/>
          <ac:cxnSpMkLst>
            <pc:docMk/>
            <pc:sldMk cId="616900208" sldId="2147472161"/>
            <ac:cxnSpMk id="14" creationId="{2E58CA72-CF91-9886-BF90-CE46303E7991}"/>
          </ac:cxnSpMkLst>
        </pc:cxnChg>
        <pc:cxnChg chg="mod">
          <ac:chgData name="Wang, Timothy J." userId="be135309-baa1-4715-99f0-6a1745de2ef7" providerId="ADAL" clId="{F41CC25D-48DC-4BCD-A52A-19ED387F254C}" dt="2023-11-27T02:43:56.815" v="1947" actId="14100"/>
          <ac:cxnSpMkLst>
            <pc:docMk/>
            <pc:sldMk cId="616900208" sldId="2147472161"/>
            <ac:cxnSpMk id="56" creationId="{4234CB88-78BA-136C-7383-79B6014963EE}"/>
          </ac:cxnSpMkLst>
        </pc:cxnChg>
      </pc:sldChg>
      <pc:sldChg chg="addSp delSp modSp mod modTransition modShow">
        <pc:chgData name="Wang, Timothy J." userId="be135309-baa1-4715-99f0-6a1745de2ef7" providerId="ADAL" clId="{F41CC25D-48DC-4BCD-A52A-19ED387F254C}" dt="2023-11-29T17:47:33.158" v="2576" actId="729"/>
        <pc:sldMkLst>
          <pc:docMk/>
          <pc:sldMk cId="1598292246" sldId="2147472162"/>
        </pc:sldMkLst>
        <pc:spChg chg="add mod">
          <ac:chgData name="Wang, Timothy J." userId="be135309-baa1-4715-99f0-6a1745de2ef7" providerId="ADAL" clId="{F41CC25D-48DC-4BCD-A52A-19ED387F254C}" dt="2023-11-27T02:38:55.815" v="1881"/>
          <ac:spMkLst>
            <pc:docMk/>
            <pc:sldMk cId="1598292246" sldId="2147472162"/>
            <ac:spMk id="3" creationId="{2B3357C1-7796-76E3-5E67-740C360958C6}"/>
          </ac:spMkLst>
        </pc:spChg>
        <pc:spChg chg="mod">
          <ac:chgData name="Wang, Timothy J." userId="be135309-baa1-4715-99f0-6a1745de2ef7" providerId="ADAL" clId="{F41CC25D-48DC-4BCD-A52A-19ED387F254C}" dt="2023-11-27T03:59:38.909" v="2445"/>
          <ac:spMkLst>
            <pc:docMk/>
            <pc:sldMk cId="1598292246" sldId="2147472162"/>
            <ac:spMk id="6" creationId="{7A94D71B-5748-D7FA-446A-25604C377D9F}"/>
          </ac:spMkLst>
        </pc:spChg>
        <pc:spChg chg="mod">
          <ac:chgData name="Wang, Timothy J." userId="be135309-baa1-4715-99f0-6a1745de2ef7" providerId="ADAL" clId="{F41CC25D-48DC-4BCD-A52A-19ED387F254C}" dt="2023-11-27T03:59:26.158" v="2404"/>
          <ac:spMkLst>
            <pc:docMk/>
            <pc:sldMk cId="1598292246" sldId="2147472162"/>
            <ac:spMk id="7" creationId="{2AE7B152-9FEE-2F00-73A7-627ECC1625FB}"/>
          </ac:spMkLst>
        </pc:spChg>
        <pc:spChg chg="mod">
          <ac:chgData name="Wang, Timothy J." userId="be135309-baa1-4715-99f0-6a1745de2ef7" providerId="ADAL" clId="{F41CC25D-48DC-4BCD-A52A-19ED387F254C}" dt="2023-11-27T04:07:04.465" v="2560"/>
          <ac:spMkLst>
            <pc:docMk/>
            <pc:sldMk cId="1598292246" sldId="2147472162"/>
            <ac:spMk id="9" creationId="{31C1F90D-3C62-3AE6-28A9-4B0B9B547FA5}"/>
          </ac:spMkLst>
        </pc:spChg>
        <pc:spChg chg="add mod">
          <ac:chgData name="Wang, Timothy J." userId="be135309-baa1-4715-99f0-6a1745de2ef7" providerId="ADAL" clId="{F41CC25D-48DC-4BCD-A52A-19ED387F254C}" dt="2023-11-27T04:07:04.465" v="2560"/>
          <ac:spMkLst>
            <pc:docMk/>
            <pc:sldMk cId="1598292246" sldId="2147472162"/>
            <ac:spMk id="10" creationId="{AE7802D7-4A9B-5C52-62E0-FC5FEBB519F7}"/>
          </ac:spMkLst>
        </pc:spChg>
        <pc:spChg chg="del">
          <ac:chgData name="Wang, Timothy J." userId="be135309-baa1-4715-99f0-6a1745de2ef7" providerId="ADAL" clId="{F41CC25D-48DC-4BCD-A52A-19ED387F254C}" dt="2023-11-27T02:38:54.723" v="1880" actId="478"/>
          <ac:spMkLst>
            <pc:docMk/>
            <pc:sldMk cId="1598292246" sldId="2147472162"/>
            <ac:spMk id="11" creationId="{630385FB-448D-DE12-D528-1C0E06C0C662}"/>
          </ac:spMkLst>
        </pc:spChg>
        <pc:spChg chg="del">
          <ac:chgData name="Wang, Timothy J." userId="be135309-baa1-4715-99f0-6a1745de2ef7" providerId="ADAL" clId="{F41CC25D-48DC-4BCD-A52A-19ED387F254C}" dt="2023-11-27T02:38:54.064" v="1879" actId="478"/>
          <ac:spMkLst>
            <pc:docMk/>
            <pc:sldMk cId="1598292246" sldId="2147472162"/>
            <ac:spMk id="12" creationId="{A0606B96-A153-6BC2-E596-45E670B36AEF}"/>
          </ac:spMkLst>
        </pc:spChg>
        <pc:spChg chg="del">
          <ac:chgData name="Wang, Timothy J." userId="be135309-baa1-4715-99f0-6a1745de2ef7" providerId="ADAL" clId="{F41CC25D-48DC-4BCD-A52A-19ED387F254C}" dt="2023-11-27T02:38:59.131" v="1882" actId="478"/>
          <ac:spMkLst>
            <pc:docMk/>
            <pc:sldMk cId="1598292246" sldId="2147472162"/>
            <ac:spMk id="13" creationId="{5C0965A3-4820-3A28-1CE6-6F0602382B99}"/>
          </ac:spMkLst>
        </pc:spChg>
        <pc:spChg chg="add mod">
          <ac:chgData name="Wang, Timothy J." userId="be135309-baa1-4715-99f0-6a1745de2ef7" providerId="ADAL" clId="{F41CC25D-48DC-4BCD-A52A-19ED387F254C}" dt="2023-11-27T02:38:55.815" v="1881"/>
          <ac:spMkLst>
            <pc:docMk/>
            <pc:sldMk cId="1598292246" sldId="2147472162"/>
            <ac:spMk id="14" creationId="{DB5A2C0A-CEC9-02F6-C3C3-3950334650CD}"/>
          </ac:spMkLst>
        </pc:spChg>
        <pc:spChg chg="add mod">
          <ac:chgData name="Wang, Timothy J." userId="be135309-baa1-4715-99f0-6a1745de2ef7" providerId="ADAL" clId="{F41CC25D-48DC-4BCD-A52A-19ED387F254C}" dt="2023-11-27T02:38:55.815" v="1881"/>
          <ac:spMkLst>
            <pc:docMk/>
            <pc:sldMk cId="1598292246" sldId="2147472162"/>
            <ac:spMk id="16" creationId="{CE3DA79F-89EF-3486-4DA7-091D77FBC754}"/>
          </ac:spMkLst>
        </pc:spChg>
        <pc:spChg chg="mod">
          <ac:chgData name="Wang, Timothy J." userId="be135309-baa1-4715-99f0-6a1745de2ef7" providerId="ADAL" clId="{F41CC25D-48DC-4BCD-A52A-19ED387F254C}" dt="2023-11-15T03:16:55.518" v="864"/>
          <ac:spMkLst>
            <pc:docMk/>
            <pc:sldMk cId="1598292246" sldId="2147472162"/>
            <ac:spMk id="56" creationId="{37D70530-375F-A2DF-D276-E07ABF4A927C}"/>
          </ac:spMkLst>
        </pc:spChg>
        <pc:cxnChg chg="mod">
          <ac:chgData name="Wang, Timothy J." userId="be135309-baa1-4715-99f0-6a1745de2ef7" providerId="ADAL" clId="{F41CC25D-48DC-4BCD-A52A-19ED387F254C}" dt="2023-11-27T02:39:03.344" v="1883" actId="14100"/>
          <ac:cxnSpMkLst>
            <pc:docMk/>
            <pc:sldMk cId="1598292246" sldId="2147472162"/>
            <ac:cxnSpMk id="15" creationId="{8552F9E4-AF4A-81E0-F685-CD6673BF4523}"/>
          </ac:cxnSpMkLst>
        </pc:cxnChg>
      </pc:sldChg>
      <pc:sldChg chg="addSp delSp modSp mod modTransition modShow">
        <pc:chgData name="Wang, Timothy J." userId="be135309-baa1-4715-99f0-6a1745de2ef7" providerId="ADAL" clId="{F41CC25D-48DC-4BCD-A52A-19ED387F254C}" dt="2023-11-29T17:47:44.258" v="2578" actId="729"/>
        <pc:sldMkLst>
          <pc:docMk/>
          <pc:sldMk cId="3396383148" sldId="2147472163"/>
        </pc:sldMkLst>
        <pc:spChg chg="add mod">
          <ac:chgData name="Wang, Timothy J." userId="be135309-baa1-4715-99f0-6a1745de2ef7" providerId="ADAL" clId="{F41CC25D-48DC-4BCD-A52A-19ED387F254C}" dt="2023-11-15T02:43:07.584" v="533"/>
          <ac:spMkLst>
            <pc:docMk/>
            <pc:sldMk cId="3396383148" sldId="2147472163"/>
            <ac:spMk id="5" creationId="{AA92DF26-1B6A-3F1B-4AD8-50F276A13245}"/>
          </ac:spMkLst>
        </pc:spChg>
        <pc:spChg chg="add mod ord">
          <ac:chgData name="Wang, Timothy J." userId="be135309-baa1-4715-99f0-6a1745de2ef7" providerId="ADAL" clId="{F41CC25D-48DC-4BCD-A52A-19ED387F254C}" dt="2023-11-15T02:43:51.331" v="538" actId="166"/>
          <ac:spMkLst>
            <pc:docMk/>
            <pc:sldMk cId="3396383148" sldId="2147472163"/>
            <ac:spMk id="6" creationId="{0D679CE0-1663-B795-D327-4165D2122727}"/>
          </ac:spMkLst>
        </pc:spChg>
        <pc:spChg chg="add mod ord">
          <ac:chgData name="Wang, Timothy J." userId="be135309-baa1-4715-99f0-6a1745de2ef7" providerId="ADAL" clId="{F41CC25D-48DC-4BCD-A52A-19ED387F254C}" dt="2023-11-15T02:43:51.331" v="538" actId="166"/>
          <ac:spMkLst>
            <pc:docMk/>
            <pc:sldMk cId="3396383148" sldId="2147472163"/>
            <ac:spMk id="7" creationId="{9CDB012A-3DFC-B2D2-9205-81AF6A2A2EBC}"/>
          </ac:spMkLst>
        </pc:spChg>
        <pc:spChg chg="add mod ord">
          <ac:chgData name="Wang, Timothy J." userId="be135309-baa1-4715-99f0-6a1745de2ef7" providerId="ADAL" clId="{F41CC25D-48DC-4BCD-A52A-19ED387F254C}" dt="2023-11-15T02:43:51.331" v="538" actId="166"/>
          <ac:spMkLst>
            <pc:docMk/>
            <pc:sldMk cId="3396383148" sldId="2147472163"/>
            <ac:spMk id="8" creationId="{51155262-A79A-1AA5-C5A7-46E29BFE48CC}"/>
          </ac:spMkLst>
        </pc:spChg>
        <pc:spChg chg="mod">
          <ac:chgData name="Wang, Timothy J." userId="be135309-baa1-4715-99f0-6a1745de2ef7" providerId="ADAL" clId="{F41CC25D-48DC-4BCD-A52A-19ED387F254C}" dt="2023-11-15T03:16:33.919" v="824"/>
          <ac:spMkLst>
            <pc:docMk/>
            <pc:sldMk cId="3396383148" sldId="2147472163"/>
            <ac:spMk id="15" creationId="{28FC2BF6-BD85-C83C-4EA6-1869CE385E7C}"/>
          </ac:spMkLst>
        </pc:spChg>
        <pc:spChg chg="del">
          <ac:chgData name="Wang, Timothy J." userId="be135309-baa1-4715-99f0-6a1745de2ef7" providerId="ADAL" clId="{F41CC25D-48DC-4BCD-A52A-19ED387F254C}" dt="2023-11-15T02:43:02.372" v="528" actId="478"/>
          <ac:spMkLst>
            <pc:docMk/>
            <pc:sldMk cId="3396383148" sldId="2147472163"/>
            <ac:spMk id="18" creationId="{E3ECA638-48A3-01D2-5319-381A0D790CF8}"/>
          </ac:spMkLst>
        </pc:spChg>
        <pc:spChg chg="del">
          <ac:chgData name="Wang, Timothy J." userId="be135309-baa1-4715-99f0-6a1745de2ef7" providerId="ADAL" clId="{F41CC25D-48DC-4BCD-A52A-19ED387F254C}" dt="2023-11-15T02:43:04.289" v="529" actId="478"/>
          <ac:spMkLst>
            <pc:docMk/>
            <pc:sldMk cId="3396383148" sldId="2147472163"/>
            <ac:spMk id="20" creationId="{0418F9E5-573E-1272-8ED0-B5AAB2446C1E}"/>
          </ac:spMkLst>
        </pc:spChg>
        <pc:spChg chg="mod">
          <ac:chgData name="Wang, Timothy J." userId="be135309-baa1-4715-99f0-6a1745de2ef7" providerId="ADAL" clId="{F41CC25D-48DC-4BCD-A52A-19ED387F254C}" dt="2023-11-15T03:39:33.012" v="1341" actId="20577"/>
          <ac:spMkLst>
            <pc:docMk/>
            <pc:sldMk cId="3396383148" sldId="2147472163"/>
            <ac:spMk id="31" creationId="{E3C91B32-54CE-12F2-2DE6-BAACFDE03EA1}"/>
          </ac:spMkLst>
        </pc:spChg>
        <pc:spChg chg="mod">
          <ac:chgData name="Wang, Timothy J." userId="be135309-baa1-4715-99f0-6a1745de2ef7" providerId="ADAL" clId="{F41CC25D-48DC-4BCD-A52A-19ED387F254C}" dt="2023-11-15T02:42:19.752" v="524"/>
          <ac:spMkLst>
            <pc:docMk/>
            <pc:sldMk cId="3396383148" sldId="2147472163"/>
            <ac:spMk id="32" creationId="{D9E31B36-5049-8D3B-BD73-CFA19C78F88F}"/>
          </ac:spMkLst>
        </pc:spChg>
        <pc:spChg chg="mod">
          <ac:chgData name="Wang, Timothy J." userId="be135309-baa1-4715-99f0-6a1745de2ef7" providerId="ADAL" clId="{F41CC25D-48DC-4BCD-A52A-19ED387F254C}" dt="2023-11-27T04:07:04.465" v="2560"/>
          <ac:spMkLst>
            <pc:docMk/>
            <pc:sldMk cId="3396383148" sldId="2147472163"/>
            <ac:spMk id="34" creationId="{242CDDE5-A396-525D-BA0C-4086E1AF07F8}"/>
          </ac:spMkLst>
        </pc:spChg>
        <pc:spChg chg="del">
          <ac:chgData name="Wang, Timothy J." userId="be135309-baa1-4715-99f0-6a1745de2ef7" providerId="ADAL" clId="{F41CC25D-48DC-4BCD-A52A-19ED387F254C}" dt="2023-11-15T02:43:05.551" v="530" actId="478"/>
          <ac:spMkLst>
            <pc:docMk/>
            <pc:sldMk cId="3396383148" sldId="2147472163"/>
            <ac:spMk id="45" creationId="{2E29E028-70F2-40BB-10D6-17A95C279685}"/>
          </ac:spMkLst>
        </pc:spChg>
        <pc:cxnChg chg="add mod">
          <ac:chgData name="Wang, Timothy J." userId="be135309-baa1-4715-99f0-6a1745de2ef7" providerId="ADAL" clId="{F41CC25D-48DC-4BCD-A52A-19ED387F254C}" dt="2023-11-15T02:43:22.702" v="535" actId="14100"/>
          <ac:cxnSpMkLst>
            <pc:docMk/>
            <pc:sldMk cId="3396383148" sldId="2147472163"/>
            <ac:cxnSpMk id="4" creationId="{67C51D2A-3C70-42EA-E3E4-C8A3DFFABA73}"/>
          </ac:cxnSpMkLst>
        </pc:cxnChg>
        <pc:cxnChg chg="add mod">
          <ac:chgData name="Wang, Timothy J." userId="be135309-baa1-4715-99f0-6a1745de2ef7" providerId="ADAL" clId="{F41CC25D-48DC-4BCD-A52A-19ED387F254C}" dt="2023-11-15T02:43:45.241" v="537" actId="208"/>
          <ac:cxnSpMkLst>
            <pc:docMk/>
            <pc:sldMk cId="3396383148" sldId="2147472163"/>
            <ac:cxnSpMk id="11" creationId="{3216CE11-3216-7E6B-4572-3FE6698D6927}"/>
          </ac:cxnSpMkLst>
        </pc:cxnChg>
        <pc:cxnChg chg="del mod">
          <ac:chgData name="Wang, Timothy J." userId="be135309-baa1-4715-99f0-6a1745de2ef7" providerId="ADAL" clId="{F41CC25D-48DC-4BCD-A52A-19ED387F254C}" dt="2023-11-15T02:43:06.281" v="531" actId="478"/>
          <ac:cxnSpMkLst>
            <pc:docMk/>
            <pc:sldMk cId="3396383148" sldId="2147472163"/>
            <ac:cxnSpMk id="16" creationId="{1394978A-972B-FFA7-77E7-3955ECBA1CCD}"/>
          </ac:cxnSpMkLst>
        </pc:cxnChg>
        <pc:cxnChg chg="del mod">
          <ac:chgData name="Wang, Timothy J." userId="be135309-baa1-4715-99f0-6a1745de2ef7" providerId="ADAL" clId="{F41CC25D-48DC-4BCD-A52A-19ED387F254C}" dt="2023-11-15T02:43:07.287" v="532" actId="478"/>
          <ac:cxnSpMkLst>
            <pc:docMk/>
            <pc:sldMk cId="3396383148" sldId="2147472163"/>
            <ac:cxnSpMk id="17" creationId="{8FEAE9C5-54CA-2029-DD1C-9A8BD4E7B991}"/>
          </ac:cxnSpMkLst>
        </pc:cxnChg>
      </pc:sldChg>
      <pc:sldChg chg="addSp delSp modSp mod modTransition">
        <pc:chgData name="Wang, Timothy J." userId="be135309-baa1-4715-99f0-6a1745de2ef7" providerId="ADAL" clId="{F41CC25D-48DC-4BCD-A52A-19ED387F254C}" dt="2023-11-27T04:07:04.465" v="2560"/>
        <pc:sldMkLst>
          <pc:docMk/>
          <pc:sldMk cId="2458126100" sldId="2147472164"/>
        </pc:sldMkLst>
        <pc:spChg chg="add mod">
          <ac:chgData name="Wang, Timothy J." userId="be135309-baa1-4715-99f0-6a1745de2ef7" providerId="ADAL" clId="{F41CC25D-48DC-4BCD-A52A-19ED387F254C}" dt="2023-11-27T04:04:55.614" v="2490" actId="14100"/>
          <ac:spMkLst>
            <pc:docMk/>
            <pc:sldMk cId="2458126100" sldId="2147472164"/>
            <ac:spMk id="5" creationId="{07085EE8-F69A-5BC0-100D-98566460672E}"/>
          </ac:spMkLst>
        </pc:spChg>
        <pc:spChg chg="add del mod">
          <ac:chgData name="Wang, Timothy J." userId="be135309-baa1-4715-99f0-6a1745de2ef7" providerId="ADAL" clId="{F41CC25D-48DC-4BCD-A52A-19ED387F254C}" dt="2023-11-27T03:08:51.164" v="2234" actId="478"/>
          <ac:spMkLst>
            <pc:docMk/>
            <pc:sldMk cId="2458126100" sldId="2147472164"/>
            <ac:spMk id="6" creationId="{2EC54AF1-6446-4FE7-88DF-BD06ADE3FA87}"/>
          </ac:spMkLst>
        </pc:spChg>
        <pc:spChg chg="add mod">
          <ac:chgData name="Wang, Timothy J." userId="be135309-baa1-4715-99f0-6a1745de2ef7" providerId="ADAL" clId="{F41CC25D-48DC-4BCD-A52A-19ED387F254C}" dt="2023-11-27T03:08:47.320" v="2233" actId="571"/>
          <ac:spMkLst>
            <pc:docMk/>
            <pc:sldMk cId="2458126100" sldId="2147472164"/>
            <ac:spMk id="7" creationId="{66450AEC-77EB-F292-01FD-7B83655F587A}"/>
          </ac:spMkLst>
        </pc:spChg>
        <pc:spChg chg="add mod">
          <ac:chgData name="Wang, Timothy J." userId="be135309-baa1-4715-99f0-6a1745de2ef7" providerId="ADAL" clId="{F41CC25D-48DC-4BCD-A52A-19ED387F254C}" dt="2023-11-27T04:06:10.485" v="2558" actId="1076"/>
          <ac:spMkLst>
            <pc:docMk/>
            <pc:sldMk cId="2458126100" sldId="2147472164"/>
            <ac:spMk id="8" creationId="{1227AF82-CBCC-E7BD-F2E2-F97A4A7B07C9}"/>
          </ac:spMkLst>
        </pc:spChg>
        <pc:spChg chg="add del">
          <ac:chgData name="Wang, Timothy J." userId="be135309-baa1-4715-99f0-6a1745de2ef7" providerId="ADAL" clId="{F41CC25D-48DC-4BCD-A52A-19ED387F254C}" dt="2023-11-15T03:23:33.089" v="1072" actId="478"/>
          <ac:spMkLst>
            <pc:docMk/>
            <pc:sldMk cId="2458126100" sldId="2147472164"/>
            <ac:spMk id="10" creationId="{D30BCC75-2176-FF0F-64F9-50DF7EB1DBE3}"/>
          </ac:spMkLst>
        </pc:spChg>
        <pc:spChg chg="add del mod">
          <ac:chgData name="Wang, Timothy J." userId="be135309-baa1-4715-99f0-6a1745de2ef7" providerId="ADAL" clId="{F41CC25D-48DC-4BCD-A52A-19ED387F254C}" dt="2023-11-15T03:24:02.063" v="1075" actId="478"/>
          <ac:spMkLst>
            <pc:docMk/>
            <pc:sldMk cId="2458126100" sldId="2147472164"/>
            <ac:spMk id="11" creationId="{54A2B132-2FB7-9C23-51D8-C68892237233}"/>
          </ac:spMkLst>
        </pc:spChg>
        <pc:spChg chg="mod">
          <ac:chgData name="Wang, Timothy J." userId="be135309-baa1-4715-99f0-6a1745de2ef7" providerId="ADAL" clId="{F41CC25D-48DC-4BCD-A52A-19ED387F254C}" dt="2023-11-27T03:09:08.758" v="2236" actId="14100"/>
          <ac:spMkLst>
            <pc:docMk/>
            <pc:sldMk cId="2458126100" sldId="2147472164"/>
            <ac:spMk id="12" creationId="{F07FC7FE-FA4D-6CD3-C9DA-AB53549EA0AE}"/>
          </ac:spMkLst>
        </pc:spChg>
        <pc:spChg chg="mod">
          <ac:chgData name="Wang, Timothy J." userId="be135309-baa1-4715-99f0-6a1745de2ef7" providerId="ADAL" clId="{F41CC25D-48DC-4BCD-A52A-19ED387F254C}" dt="2023-11-15T03:35:14.292" v="1238" actId="1076"/>
          <ac:spMkLst>
            <pc:docMk/>
            <pc:sldMk cId="2458126100" sldId="2147472164"/>
            <ac:spMk id="13" creationId="{6297BFDB-B9EE-599D-50C1-1D8C29808AD6}"/>
          </ac:spMkLst>
        </pc:spChg>
        <pc:spChg chg="mod">
          <ac:chgData name="Wang, Timothy J." userId="be135309-baa1-4715-99f0-6a1745de2ef7" providerId="ADAL" clId="{F41CC25D-48DC-4BCD-A52A-19ED387F254C}" dt="2023-11-27T02:27:27.204" v="1458" actId="1076"/>
          <ac:spMkLst>
            <pc:docMk/>
            <pc:sldMk cId="2458126100" sldId="2147472164"/>
            <ac:spMk id="14" creationId="{0505C1EB-F7D3-78ED-BADA-C98A0AF16DD6}"/>
          </ac:spMkLst>
        </pc:spChg>
        <pc:spChg chg="mod">
          <ac:chgData name="Wang, Timothy J." userId="be135309-baa1-4715-99f0-6a1745de2ef7" providerId="ADAL" clId="{F41CC25D-48DC-4BCD-A52A-19ED387F254C}" dt="2023-11-27T02:27:42.780" v="1460" actId="14100"/>
          <ac:spMkLst>
            <pc:docMk/>
            <pc:sldMk cId="2458126100" sldId="2147472164"/>
            <ac:spMk id="15" creationId="{B23DDE16-DFE6-E494-2E59-FC7583CF557E}"/>
          </ac:spMkLst>
        </pc:spChg>
        <pc:spChg chg="mod">
          <ac:chgData name="Wang, Timothy J." userId="be135309-baa1-4715-99f0-6a1745de2ef7" providerId="ADAL" clId="{F41CC25D-48DC-4BCD-A52A-19ED387F254C}" dt="2023-11-15T03:35:06.508" v="1237" actId="1076"/>
          <ac:spMkLst>
            <pc:docMk/>
            <pc:sldMk cId="2458126100" sldId="2147472164"/>
            <ac:spMk id="16" creationId="{D521056E-5C77-5296-7E25-77D5D64410D9}"/>
          </ac:spMkLst>
        </pc:spChg>
        <pc:spChg chg="mod">
          <ac:chgData name="Wang, Timothy J." userId="be135309-baa1-4715-99f0-6a1745de2ef7" providerId="ADAL" clId="{F41CC25D-48DC-4BCD-A52A-19ED387F254C}" dt="2023-11-15T04:56:14.470" v="1348" actId="14100"/>
          <ac:spMkLst>
            <pc:docMk/>
            <pc:sldMk cId="2458126100" sldId="2147472164"/>
            <ac:spMk id="17" creationId="{711D0BBA-BBAE-4BD5-2988-B68B3BEBD84D}"/>
          </ac:spMkLst>
        </pc:spChg>
        <pc:spChg chg="mod">
          <ac:chgData name="Wang, Timothy J." userId="be135309-baa1-4715-99f0-6a1745de2ef7" providerId="ADAL" clId="{F41CC25D-48DC-4BCD-A52A-19ED387F254C}" dt="2023-11-27T02:27:23.904" v="1457" actId="14100"/>
          <ac:spMkLst>
            <pc:docMk/>
            <pc:sldMk cId="2458126100" sldId="2147472164"/>
            <ac:spMk id="18" creationId="{1DA42AD5-D5ED-5F1F-7F7B-369FC5CEB80C}"/>
          </ac:spMkLst>
        </pc:spChg>
        <pc:spChg chg="add del mod">
          <ac:chgData name="Wang, Timothy J." userId="be135309-baa1-4715-99f0-6a1745de2ef7" providerId="ADAL" clId="{F41CC25D-48DC-4BCD-A52A-19ED387F254C}" dt="2023-11-15T03:27:09.928" v="1087" actId="478"/>
          <ac:spMkLst>
            <pc:docMk/>
            <pc:sldMk cId="2458126100" sldId="2147472164"/>
            <ac:spMk id="25" creationId="{366965EB-9994-BC12-640E-0C5D8D09834D}"/>
          </ac:spMkLst>
        </pc:spChg>
        <pc:spChg chg="add del mod">
          <ac:chgData name="Wang, Timothy J." userId="be135309-baa1-4715-99f0-6a1745de2ef7" providerId="ADAL" clId="{F41CC25D-48DC-4BCD-A52A-19ED387F254C}" dt="2023-11-15T03:31:47.040" v="1213" actId="478"/>
          <ac:spMkLst>
            <pc:docMk/>
            <pc:sldMk cId="2458126100" sldId="2147472164"/>
            <ac:spMk id="26" creationId="{C5E8901A-7E35-998D-211C-76D30013F6A9}"/>
          </ac:spMkLst>
        </pc:spChg>
        <pc:spChg chg="add mod">
          <ac:chgData name="Wang, Timothy J." userId="be135309-baa1-4715-99f0-6a1745de2ef7" providerId="ADAL" clId="{F41CC25D-48DC-4BCD-A52A-19ED387F254C}" dt="2023-11-27T04:05:00.929" v="2491" actId="14100"/>
          <ac:spMkLst>
            <pc:docMk/>
            <pc:sldMk cId="2458126100" sldId="2147472164"/>
            <ac:spMk id="29" creationId="{3AFDE629-FA82-2C15-57E3-75083583D3B2}"/>
          </ac:spMkLst>
        </pc:spChg>
        <pc:spChg chg="add mod">
          <ac:chgData name="Wang, Timothy J." userId="be135309-baa1-4715-99f0-6a1745de2ef7" providerId="ADAL" clId="{F41CC25D-48DC-4BCD-A52A-19ED387F254C}" dt="2023-11-27T04:06:27.857" v="2559" actId="14100"/>
          <ac:spMkLst>
            <pc:docMk/>
            <pc:sldMk cId="2458126100" sldId="2147472164"/>
            <ac:spMk id="30" creationId="{442A277F-1CA4-EAE1-3A16-915D61F5F7B5}"/>
          </ac:spMkLst>
        </pc:spChg>
        <pc:graphicFrameChg chg="mod modGraphic">
          <ac:chgData name="Wang, Timothy J." userId="be135309-baa1-4715-99f0-6a1745de2ef7" providerId="ADAL" clId="{F41CC25D-48DC-4BCD-A52A-19ED387F254C}" dt="2023-11-27T04:07:04.465" v="2560"/>
          <ac:graphicFrameMkLst>
            <pc:docMk/>
            <pc:sldMk cId="2458126100" sldId="2147472164"/>
            <ac:graphicFrameMk id="4" creationId="{87B2DBCF-D877-A417-2860-9DE26F1C811D}"/>
          </ac:graphicFrameMkLst>
        </pc:graphicFrameChg>
        <pc:cxnChg chg="add del">
          <ac:chgData name="Wang, Timothy J." userId="be135309-baa1-4715-99f0-6a1745de2ef7" providerId="ADAL" clId="{F41CC25D-48DC-4BCD-A52A-19ED387F254C}" dt="2023-11-15T03:22:28.325" v="1067" actId="478"/>
          <ac:cxnSpMkLst>
            <pc:docMk/>
            <pc:sldMk cId="2458126100" sldId="2147472164"/>
            <ac:cxnSpMk id="7" creationId="{9B2F5E81-B425-312F-DD61-47D6882A3637}"/>
          </ac:cxnSpMkLst>
        </pc:cxnChg>
        <pc:cxnChg chg="add del mod">
          <ac:chgData name="Wang, Timothy J." userId="be135309-baa1-4715-99f0-6a1745de2ef7" providerId="ADAL" clId="{F41CC25D-48DC-4BCD-A52A-19ED387F254C}" dt="2023-11-15T03:22:49.282" v="1070" actId="478"/>
          <ac:cxnSpMkLst>
            <pc:docMk/>
            <pc:sldMk cId="2458126100" sldId="2147472164"/>
            <ac:cxnSpMk id="9" creationId="{890B7754-F1B6-7ACE-F76C-154F40B2C400}"/>
          </ac:cxnSpMkLst>
        </pc:cxnChg>
        <pc:cxnChg chg="add del mod">
          <ac:chgData name="Wang, Timothy J." userId="be135309-baa1-4715-99f0-6a1745de2ef7" providerId="ADAL" clId="{F41CC25D-48DC-4BCD-A52A-19ED387F254C}" dt="2023-11-15T03:24:36.030" v="1082" actId="478"/>
          <ac:cxnSpMkLst>
            <pc:docMk/>
            <pc:sldMk cId="2458126100" sldId="2147472164"/>
            <ac:cxnSpMk id="20" creationId="{5C268047-E762-EBD1-2096-F40DFAD1055D}"/>
          </ac:cxnSpMkLst>
        </pc:cxnChg>
        <pc:cxnChg chg="add del mod">
          <ac:chgData name="Wang, Timothy J." userId="be135309-baa1-4715-99f0-6a1745de2ef7" providerId="ADAL" clId="{F41CC25D-48DC-4BCD-A52A-19ED387F254C}" dt="2023-11-15T03:31:34.275" v="1200" actId="478"/>
          <ac:cxnSpMkLst>
            <pc:docMk/>
            <pc:sldMk cId="2458126100" sldId="2147472164"/>
            <ac:cxnSpMk id="28" creationId="{03F4EE0E-B6FF-7093-B5AB-41B107B61C67}"/>
          </ac:cxnSpMkLst>
        </pc:cxnChg>
      </pc:sldChg>
      <pc:sldChg chg="addSp delSp modSp mod modTransition modShow">
        <pc:chgData name="Wang, Timothy J." userId="be135309-baa1-4715-99f0-6a1745de2ef7" providerId="ADAL" clId="{F41CC25D-48DC-4BCD-A52A-19ED387F254C}" dt="2023-11-29T17:47:47.079" v="2579" actId="729"/>
        <pc:sldMkLst>
          <pc:docMk/>
          <pc:sldMk cId="2650028347" sldId="2147472165"/>
        </pc:sldMkLst>
        <pc:spChg chg="mod">
          <ac:chgData name="Wang, Timothy J." userId="be135309-baa1-4715-99f0-6a1745de2ef7" providerId="ADAL" clId="{F41CC25D-48DC-4BCD-A52A-19ED387F254C}" dt="2023-11-15T03:16:09.259" v="780"/>
          <ac:spMkLst>
            <pc:docMk/>
            <pc:sldMk cId="2650028347" sldId="2147472165"/>
            <ac:spMk id="2" creationId="{E02AFBEB-E937-AB98-285E-978827EB83BE}"/>
          </ac:spMkLst>
        </pc:spChg>
        <pc:spChg chg="add mod">
          <ac:chgData name="Wang, Timothy J." userId="be135309-baa1-4715-99f0-6a1745de2ef7" providerId="ADAL" clId="{F41CC25D-48DC-4BCD-A52A-19ED387F254C}" dt="2023-11-15T03:15:35.144" v="749"/>
          <ac:spMkLst>
            <pc:docMk/>
            <pc:sldMk cId="2650028347" sldId="2147472165"/>
            <ac:spMk id="6" creationId="{B99234B9-6190-AE9C-08C4-62D79E0617F8}"/>
          </ac:spMkLst>
        </pc:spChg>
        <pc:spChg chg="mod">
          <ac:chgData name="Wang, Timothy J." userId="be135309-baa1-4715-99f0-6a1745de2ef7" providerId="ADAL" clId="{F41CC25D-48DC-4BCD-A52A-19ED387F254C}" dt="2023-11-15T03:16:14.849" v="792"/>
          <ac:spMkLst>
            <pc:docMk/>
            <pc:sldMk cId="2650028347" sldId="2147472165"/>
            <ac:spMk id="15" creationId="{28FC2BF6-BD85-C83C-4EA6-1869CE385E7C}"/>
          </ac:spMkLst>
        </pc:spChg>
        <pc:spChg chg="mod">
          <ac:chgData name="Wang, Timothy J." userId="be135309-baa1-4715-99f0-6a1745de2ef7" providerId="ADAL" clId="{F41CC25D-48DC-4BCD-A52A-19ED387F254C}" dt="2023-11-15T03:39:26.097" v="1337" actId="21"/>
          <ac:spMkLst>
            <pc:docMk/>
            <pc:sldMk cId="2650028347" sldId="2147472165"/>
            <ac:spMk id="16" creationId="{D7BB03BA-E476-1DED-C3B4-34B3E1631B18}"/>
          </ac:spMkLst>
        </pc:spChg>
        <pc:spChg chg="mod">
          <ac:chgData name="Wang, Timothy J." userId="be135309-baa1-4715-99f0-6a1745de2ef7" providerId="ADAL" clId="{F41CC25D-48DC-4BCD-A52A-19ED387F254C}" dt="2023-11-27T04:07:04.465" v="2560"/>
          <ac:spMkLst>
            <pc:docMk/>
            <pc:sldMk cId="2650028347" sldId="2147472165"/>
            <ac:spMk id="17" creationId="{3EABDBD9-E926-595B-D262-A07896D5BF12}"/>
          </ac:spMkLst>
        </pc:spChg>
        <pc:spChg chg="mod">
          <ac:chgData name="Wang, Timothy J." userId="be135309-baa1-4715-99f0-6a1745de2ef7" providerId="ADAL" clId="{F41CC25D-48DC-4BCD-A52A-19ED387F254C}" dt="2023-11-27T04:07:04.465" v="2560"/>
          <ac:spMkLst>
            <pc:docMk/>
            <pc:sldMk cId="2650028347" sldId="2147472165"/>
            <ac:spMk id="19" creationId="{8895A44A-602C-95F1-7204-13B399B90452}"/>
          </ac:spMkLst>
        </pc:spChg>
        <pc:spChg chg="mod">
          <ac:chgData name="Wang, Timothy J." userId="be135309-baa1-4715-99f0-6a1745de2ef7" providerId="ADAL" clId="{F41CC25D-48DC-4BCD-A52A-19ED387F254C}" dt="2023-11-15T02:41:42.466" v="518" actId="554"/>
          <ac:spMkLst>
            <pc:docMk/>
            <pc:sldMk cId="2650028347" sldId="2147472165"/>
            <ac:spMk id="32" creationId="{D645BCEC-1794-0517-C241-4CFF81B86FFF}"/>
          </ac:spMkLst>
        </pc:spChg>
        <pc:spChg chg="mod">
          <ac:chgData name="Wang, Timothy J." userId="be135309-baa1-4715-99f0-6a1745de2ef7" providerId="ADAL" clId="{F41CC25D-48DC-4BCD-A52A-19ED387F254C}" dt="2023-11-15T02:41:42.466" v="518" actId="554"/>
          <ac:spMkLst>
            <pc:docMk/>
            <pc:sldMk cId="2650028347" sldId="2147472165"/>
            <ac:spMk id="33" creationId="{6018C8AD-84CB-460E-A743-846FBE5ADC6D}"/>
          </ac:spMkLst>
        </pc:spChg>
        <pc:spChg chg="mod">
          <ac:chgData name="Wang, Timothy J." userId="be135309-baa1-4715-99f0-6a1745de2ef7" providerId="ADAL" clId="{F41CC25D-48DC-4BCD-A52A-19ED387F254C}" dt="2023-11-15T02:41:47.946" v="519" actId="14100"/>
          <ac:spMkLst>
            <pc:docMk/>
            <pc:sldMk cId="2650028347" sldId="2147472165"/>
            <ac:spMk id="34" creationId="{92410B6C-40D4-11C7-CA22-6D2B3FA4CEBA}"/>
          </ac:spMkLst>
        </pc:spChg>
        <pc:spChg chg="del mod">
          <ac:chgData name="Wang, Timothy J." userId="be135309-baa1-4715-99f0-6a1745de2ef7" providerId="ADAL" clId="{F41CC25D-48DC-4BCD-A52A-19ED387F254C}" dt="2023-11-15T02:41:07.184" v="512" actId="478"/>
          <ac:spMkLst>
            <pc:docMk/>
            <pc:sldMk cId="2650028347" sldId="2147472165"/>
            <ac:spMk id="40" creationId="{B72B0605-C4AD-E9B3-D1CD-40B57B833434}"/>
          </ac:spMkLst>
        </pc:spChg>
        <pc:cxnChg chg="mod">
          <ac:chgData name="Wang, Timothy J." userId="be135309-baa1-4715-99f0-6a1745de2ef7" providerId="ADAL" clId="{F41CC25D-48DC-4BCD-A52A-19ED387F254C}" dt="2023-11-15T02:42:02.086" v="521" actId="14100"/>
          <ac:cxnSpMkLst>
            <pc:docMk/>
            <pc:sldMk cId="2650028347" sldId="2147472165"/>
            <ac:cxnSpMk id="30" creationId="{29F0D9E7-FE32-3500-94F3-A2286508B4F0}"/>
          </ac:cxnSpMkLst>
        </pc:cxnChg>
        <pc:cxnChg chg="mod">
          <ac:chgData name="Wang, Timothy J." userId="be135309-baa1-4715-99f0-6a1745de2ef7" providerId="ADAL" clId="{F41CC25D-48DC-4BCD-A52A-19ED387F254C}" dt="2023-11-15T02:41:42.466" v="518" actId="554"/>
          <ac:cxnSpMkLst>
            <pc:docMk/>
            <pc:sldMk cId="2650028347" sldId="2147472165"/>
            <ac:cxnSpMk id="31" creationId="{BE407BD6-BF08-E90B-978B-23AC805C2B6D}"/>
          </ac:cxnSpMkLst>
        </pc:cxnChg>
      </pc:sldChg>
      <pc:sldChg chg="addSp delSp modSp add del mod modClrScheme chgLayout">
        <pc:chgData name="Wang, Timothy J." userId="be135309-baa1-4715-99f0-6a1745de2ef7" providerId="ADAL" clId="{F41CC25D-48DC-4BCD-A52A-19ED387F254C}" dt="2023-11-21T08:44:56.869" v="1456" actId="2696"/>
        <pc:sldMkLst>
          <pc:docMk/>
          <pc:sldMk cId="555598049" sldId="2147472168"/>
        </pc:sldMkLst>
        <pc:spChg chg="mod ord">
          <ac:chgData name="Wang, Timothy J." userId="be135309-baa1-4715-99f0-6a1745de2ef7" providerId="ADAL" clId="{F41CC25D-48DC-4BCD-A52A-19ED387F254C}" dt="2023-11-21T08:38:54.583" v="1392" actId="700"/>
          <ac:spMkLst>
            <pc:docMk/>
            <pc:sldMk cId="555598049" sldId="2147472168"/>
            <ac:spMk id="2" creationId="{A2561EAD-2A25-5DF9-C4FA-E12E18C83EE5}"/>
          </ac:spMkLst>
        </pc:spChg>
        <pc:spChg chg="add del mod ord">
          <ac:chgData name="Wang, Timothy J." userId="be135309-baa1-4715-99f0-6a1745de2ef7" providerId="ADAL" clId="{F41CC25D-48DC-4BCD-A52A-19ED387F254C}" dt="2023-11-21T08:37:31.892" v="1385" actId="478"/>
          <ac:spMkLst>
            <pc:docMk/>
            <pc:sldMk cId="555598049" sldId="2147472168"/>
            <ac:spMk id="3" creationId="{68E661F4-DDD4-A9AA-15D6-D10D43CEEBB1}"/>
          </ac:spMkLst>
        </pc:spChg>
        <pc:spChg chg="mod">
          <ac:chgData name="Wang, Timothy J." userId="be135309-baa1-4715-99f0-6a1745de2ef7" providerId="ADAL" clId="{F41CC25D-48DC-4BCD-A52A-19ED387F254C}" dt="2023-11-21T08:38:14.064" v="1387" actId="207"/>
          <ac:spMkLst>
            <pc:docMk/>
            <pc:sldMk cId="555598049" sldId="2147472168"/>
            <ac:spMk id="6" creationId="{F37AC555-5FFC-C040-1756-27D86A962A8F}"/>
          </ac:spMkLst>
        </pc:spChg>
        <pc:spChg chg="mod">
          <ac:chgData name="Wang, Timothy J." userId="be135309-baa1-4715-99f0-6a1745de2ef7" providerId="ADAL" clId="{F41CC25D-48DC-4BCD-A52A-19ED387F254C}" dt="2023-11-21T08:38:14.064" v="1387" actId="207"/>
          <ac:spMkLst>
            <pc:docMk/>
            <pc:sldMk cId="555598049" sldId="2147472168"/>
            <ac:spMk id="9" creationId="{27BCE79E-9915-D199-96DE-C03F8E8F4518}"/>
          </ac:spMkLst>
        </pc:spChg>
        <pc:spChg chg="add del mod ord">
          <ac:chgData name="Wang, Timothy J." userId="be135309-baa1-4715-99f0-6a1745de2ef7" providerId="ADAL" clId="{F41CC25D-48DC-4BCD-A52A-19ED387F254C}" dt="2023-11-21T08:38:54.583" v="1392" actId="700"/>
          <ac:spMkLst>
            <pc:docMk/>
            <pc:sldMk cId="555598049" sldId="2147472168"/>
            <ac:spMk id="10" creationId="{9BCAA786-822D-CB1A-1E04-D6171A9E8EAB}"/>
          </ac:spMkLst>
        </pc:spChg>
        <pc:spChg chg="add del mod ord">
          <ac:chgData name="Wang, Timothy J." userId="be135309-baa1-4715-99f0-6a1745de2ef7" providerId="ADAL" clId="{F41CC25D-48DC-4BCD-A52A-19ED387F254C}" dt="2023-11-21T08:38:57.195" v="1393" actId="478"/>
          <ac:spMkLst>
            <pc:docMk/>
            <pc:sldMk cId="555598049" sldId="2147472168"/>
            <ac:spMk id="11" creationId="{D496D9D1-1C65-8545-8E87-B4CD08519680}"/>
          </ac:spMkLst>
        </pc:spChg>
        <pc:spChg chg="mod">
          <ac:chgData name="Wang, Timothy J." userId="be135309-baa1-4715-99f0-6a1745de2ef7" providerId="ADAL" clId="{F41CC25D-48DC-4BCD-A52A-19ED387F254C}" dt="2023-11-21T08:38:14.064" v="1387" actId="207"/>
          <ac:spMkLst>
            <pc:docMk/>
            <pc:sldMk cId="555598049" sldId="2147472168"/>
            <ac:spMk id="15" creationId="{D96B16FD-1E9D-B19F-5060-00A7A9D29192}"/>
          </ac:spMkLst>
        </pc:spChg>
        <pc:spChg chg="mod">
          <ac:chgData name="Wang, Timothy J." userId="be135309-baa1-4715-99f0-6a1745de2ef7" providerId="ADAL" clId="{F41CC25D-48DC-4BCD-A52A-19ED387F254C}" dt="2023-11-21T08:38:14.064" v="1387" actId="207"/>
          <ac:spMkLst>
            <pc:docMk/>
            <pc:sldMk cId="555598049" sldId="2147472168"/>
            <ac:spMk id="19" creationId="{93FE88E2-7E0D-7937-FBFE-363B4FB15AE7}"/>
          </ac:spMkLst>
        </pc:spChg>
        <pc:spChg chg="mod">
          <ac:chgData name="Wang, Timothy J." userId="be135309-baa1-4715-99f0-6a1745de2ef7" providerId="ADAL" clId="{F41CC25D-48DC-4BCD-A52A-19ED387F254C}" dt="2023-11-21T08:42:33.723" v="1454" actId="179"/>
          <ac:spMkLst>
            <pc:docMk/>
            <pc:sldMk cId="555598049" sldId="2147472168"/>
            <ac:spMk id="24" creationId="{52103CDC-0459-B235-F7CA-9BF040F7B2DE}"/>
          </ac:spMkLst>
        </pc:spChg>
        <pc:cxnChg chg="mod">
          <ac:chgData name="Wang, Timothy J." userId="be135309-baa1-4715-99f0-6a1745de2ef7" providerId="ADAL" clId="{F41CC25D-48DC-4BCD-A52A-19ED387F254C}" dt="2023-11-21T08:38:49.822" v="1391" actId="208"/>
          <ac:cxnSpMkLst>
            <pc:docMk/>
            <pc:sldMk cId="555598049" sldId="2147472168"/>
            <ac:cxnSpMk id="16" creationId="{5C34AE5E-F976-2F17-F46A-D0F477A16FA6}"/>
          </ac:cxnSpMkLst>
        </pc:cxnChg>
        <pc:cxnChg chg="mod">
          <ac:chgData name="Wang, Timothy J." userId="be135309-baa1-4715-99f0-6a1745de2ef7" providerId="ADAL" clId="{F41CC25D-48DC-4BCD-A52A-19ED387F254C}" dt="2023-11-21T08:38:49.822" v="1391" actId="208"/>
          <ac:cxnSpMkLst>
            <pc:docMk/>
            <pc:sldMk cId="555598049" sldId="2147472168"/>
            <ac:cxnSpMk id="22" creationId="{1FCE4251-5BC2-23F8-A106-E5399A3BF3A0}"/>
          </ac:cxnSpMkLst>
        </pc:cxnChg>
        <pc:cxnChg chg="mod">
          <ac:chgData name="Wang, Timothy J." userId="be135309-baa1-4715-99f0-6a1745de2ef7" providerId="ADAL" clId="{F41CC25D-48DC-4BCD-A52A-19ED387F254C}" dt="2023-11-21T08:38:49.822" v="1391" actId="208"/>
          <ac:cxnSpMkLst>
            <pc:docMk/>
            <pc:sldMk cId="555598049" sldId="2147472168"/>
            <ac:cxnSpMk id="25" creationId="{A6DF0C75-2A7D-C145-D6DC-3E411C98C090}"/>
          </ac:cxnSpMkLst>
        </pc:cxnChg>
        <pc:cxnChg chg="mod">
          <ac:chgData name="Wang, Timothy J." userId="be135309-baa1-4715-99f0-6a1745de2ef7" providerId="ADAL" clId="{F41CC25D-48DC-4BCD-A52A-19ED387F254C}" dt="2023-11-21T08:38:49.822" v="1391" actId="208"/>
          <ac:cxnSpMkLst>
            <pc:docMk/>
            <pc:sldMk cId="555598049" sldId="2147472168"/>
            <ac:cxnSpMk id="26" creationId="{BFD07F44-3185-3F33-6419-6287D71B7D43}"/>
          </ac:cxnSpMkLst>
        </pc:cxnChg>
      </pc:sldChg>
      <pc:sldMasterChg chg="modSldLayout">
        <pc:chgData name="Wang, Timothy J." userId="be135309-baa1-4715-99f0-6a1745de2ef7" providerId="ADAL" clId="{F41CC25D-48DC-4BCD-A52A-19ED387F254C}" dt="2023-11-15T03:35:18.612" v="1240"/>
        <pc:sldMasterMkLst>
          <pc:docMk/>
          <pc:sldMasterMk cId="0" sldId="2147483648"/>
        </pc:sldMasterMkLst>
        <pc:sldLayoutChg chg="setBg">
          <pc:chgData name="Wang, Timothy J." userId="be135309-baa1-4715-99f0-6a1745de2ef7" providerId="ADAL" clId="{F41CC25D-48DC-4BCD-A52A-19ED387F254C}" dt="2023-11-15T03:35:18.612" v="1240"/>
          <pc:sldLayoutMkLst>
            <pc:docMk/>
            <pc:sldMasterMk cId="0" sldId="2147483648"/>
            <pc:sldLayoutMk cId="2104557831" sldId="2147483701"/>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2783079461" sldId="2147483702"/>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2104574128" sldId="2147483703"/>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1976482637" sldId="2147483704"/>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1654021458" sldId="2147483705"/>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1272371442" sldId="2147483706"/>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4044370876" sldId="2147483727"/>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1212220219" sldId="2147483755"/>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527611538" sldId="2147483756"/>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896342857" sldId="2147483757"/>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3012027843" sldId="2147483758"/>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2274313815" sldId="2147483759"/>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3272302599" sldId="2147483760"/>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3458078108" sldId="2147483762"/>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1224121607" sldId="2147483763"/>
          </pc:sldLayoutMkLst>
        </pc:sldLayoutChg>
        <pc:sldLayoutChg chg="setBg">
          <pc:chgData name="Wang, Timothy J." userId="be135309-baa1-4715-99f0-6a1745de2ef7" providerId="ADAL" clId="{F41CC25D-48DC-4BCD-A52A-19ED387F254C}" dt="2023-11-15T03:35:18.612" v="1240"/>
          <pc:sldLayoutMkLst>
            <pc:docMk/>
            <pc:sldMasterMk cId="0" sldId="2147483648"/>
            <pc:sldLayoutMk cId="136314714" sldId="2147483764"/>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84586" cy="519977"/>
          </a:xfrm>
          <a:prstGeom prst="rect">
            <a:avLst/>
          </a:prstGeom>
        </p:spPr>
        <p:txBody>
          <a:bodyPr vert="horz" lIns="96522" tIns="48262" rIns="96522" bIns="48262"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62310" y="1"/>
            <a:ext cx="3184586" cy="519977"/>
          </a:xfrm>
          <a:prstGeom prst="rect">
            <a:avLst/>
          </a:prstGeom>
        </p:spPr>
        <p:txBody>
          <a:bodyPr vert="horz" lIns="96522" tIns="48262" rIns="96522" bIns="48262" rtlCol="0"/>
          <a:lstStyle>
            <a:lvl1pPr algn="r">
              <a:defRPr sz="1200"/>
            </a:lvl1pPr>
          </a:lstStyle>
          <a:p>
            <a:fld id="{B4AD245C-091B-44E2-BFB0-BD94217887F7}" type="datetimeFigureOut">
              <a:rPr lang="en-US" smtClean="0">
                <a:latin typeface="Arial" panose="020B0604020202020204" pitchFamily="34" charset="0"/>
              </a:rPr>
              <a:t>4/18/20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889236"/>
            <a:ext cx="3184586" cy="519977"/>
          </a:xfrm>
          <a:prstGeom prst="rect">
            <a:avLst/>
          </a:prstGeom>
        </p:spPr>
        <p:txBody>
          <a:bodyPr vert="horz" lIns="96522" tIns="48262" rIns="96522" bIns="48262" rtlCol="0" anchor="b"/>
          <a:lstStyle>
            <a:lvl1pPr algn="l">
              <a:defRPr sz="12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62310" y="9889236"/>
            <a:ext cx="3184586" cy="519977"/>
          </a:xfrm>
          <a:prstGeom prst="rect">
            <a:avLst/>
          </a:prstGeom>
        </p:spPr>
        <p:txBody>
          <a:bodyPr vert="horz" lIns="96522" tIns="48262" rIns="96522" bIns="48262" rtlCol="0" anchor="b"/>
          <a:lstStyle>
            <a:lvl1pPr algn="r">
              <a:defRPr sz="12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184366" cy="520541"/>
          </a:xfrm>
          <a:prstGeom prst="rect">
            <a:avLst/>
          </a:prstGeom>
        </p:spPr>
        <p:txBody>
          <a:bodyPr vert="horz" lIns="104554" tIns="52276" rIns="104554" bIns="52276"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62474" y="2"/>
            <a:ext cx="3184366" cy="520541"/>
          </a:xfrm>
          <a:prstGeom prst="rect">
            <a:avLst/>
          </a:prstGeom>
        </p:spPr>
        <p:txBody>
          <a:bodyPr vert="horz" lIns="104554" tIns="52276" rIns="104554" bIns="52276" rtlCol="0"/>
          <a:lstStyle>
            <a:lvl1pPr algn="r">
              <a:defRPr sz="1300">
                <a:latin typeface="Arial" panose="020B0604020202020204" pitchFamily="34" charset="0"/>
              </a:defRPr>
            </a:lvl1pPr>
          </a:lstStyle>
          <a:p>
            <a:fld id="{0BA5BBE4-AEA3-489A-A28E-0C2FAF2506E3}" type="datetimeFigureOut">
              <a:rPr lang="en-US" smtClean="0"/>
              <a:pPr/>
              <a:t>4/18/2024</a:t>
            </a:fld>
            <a:endParaRPr lang="en-US" dirty="0"/>
          </a:p>
        </p:txBody>
      </p:sp>
      <p:sp>
        <p:nvSpPr>
          <p:cNvPr id="4" name="Slide Image Placeholder 3"/>
          <p:cNvSpPr>
            <a:spLocks noGrp="1" noRot="1" noChangeAspect="1"/>
          </p:cNvSpPr>
          <p:nvPr>
            <p:ph type="sldImg" idx="2"/>
          </p:nvPr>
        </p:nvSpPr>
        <p:spPr>
          <a:xfrm>
            <a:off x="204788" y="781050"/>
            <a:ext cx="6938962" cy="3903663"/>
          </a:xfrm>
          <a:prstGeom prst="rect">
            <a:avLst/>
          </a:prstGeom>
          <a:noFill/>
          <a:ln w="12700">
            <a:solidFill>
              <a:prstClr val="black"/>
            </a:solidFill>
          </a:ln>
        </p:spPr>
        <p:txBody>
          <a:bodyPr vert="horz" lIns="104554" tIns="52276" rIns="104554" bIns="52276" rtlCol="0" anchor="ctr"/>
          <a:lstStyle/>
          <a:p>
            <a:endParaRPr lang="en-GB" dirty="0"/>
          </a:p>
        </p:txBody>
      </p:sp>
      <p:sp>
        <p:nvSpPr>
          <p:cNvPr id="5" name="Notes Placeholder 4"/>
          <p:cNvSpPr>
            <a:spLocks noGrp="1"/>
          </p:cNvSpPr>
          <p:nvPr>
            <p:ph type="body" sz="quarter" idx="3"/>
          </p:nvPr>
        </p:nvSpPr>
        <p:spPr>
          <a:xfrm>
            <a:off x="734855" y="4945144"/>
            <a:ext cx="5878830" cy="4684871"/>
          </a:xfrm>
          <a:prstGeom prst="rect">
            <a:avLst/>
          </a:prstGeom>
        </p:spPr>
        <p:txBody>
          <a:bodyPr vert="horz" lIns="104554" tIns="52276" rIns="104554" bIns="5227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888479"/>
            <a:ext cx="3184366" cy="520541"/>
          </a:xfrm>
          <a:prstGeom prst="rect">
            <a:avLst/>
          </a:prstGeom>
        </p:spPr>
        <p:txBody>
          <a:bodyPr vert="horz" lIns="104554" tIns="52276" rIns="104554" bIns="52276"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62474" y="9888479"/>
            <a:ext cx="3184366" cy="520541"/>
          </a:xfrm>
          <a:prstGeom prst="rect">
            <a:avLst/>
          </a:prstGeom>
        </p:spPr>
        <p:txBody>
          <a:bodyPr vert="horz" lIns="104554" tIns="52276" rIns="104554" bIns="52276" rtlCol="0" anchor="b"/>
          <a:lstStyle>
            <a:lvl1pPr algn="r">
              <a:defRPr sz="13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3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969611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hyperlink" Target="https://www2.deloitte.com/global/en/pages/about-deloitte/articles/about-the-network.html" TargetMode="External"/><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hyperlink" Target="https://www2.deloitte.com/global/en/pages/about-deloitte/articles/about-the-network.html" TargetMode="External"/><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hyperlink" Target="https://www2.deloitte.com/global/en/pages/about-deloitte/articles/about-the-network.html" TargetMode="External"/><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首頁_黑底圖片">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427133"/>
            <a:ext cx="5592011" cy="923698"/>
          </a:xfrm>
          <a:prstGeom prst="rect">
            <a:avLst/>
          </a:prstGeom>
        </p:spPr>
        <p:txBody>
          <a:bodyPr lIns="0" tIns="0" rIns="0" bIns="0" anchor="b" anchorCtr="0">
            <a:noAutofit/>
          </a:bodyPr>
          <a:lstStyle>
            <a:lvl1pPr marL="0" indent="0" algn="l">
              <a:lnSpc>
                <a:spcPct val="100000"/>
              </a:lnSpc>
              <a:spcAft>
                <a:spcPts val="0"/>
              </a:spcAft>
              <a:buNone/>
              <a:defRPr sz="1600" b="0">
                <a:solidFill>
                  <a:srgbClr val="86BC25"/>
                </a:solidFill>
                <a:latin typeface="Calibri" panose="020F0502020204030204" pitchFamily="34" charset="0"/>
                <a:ea typeface="+mj-ea"/>
                <a:cs typeface="Calibri" panose="020F0502020204030204" pitchFamily="34" charset="0"/>
              </a:defRPr>
            </a:lvl1pPr>
            <a:lvl2pPr marL="0" indent="0" algn="l">
              <a:buNone/>
              <a:defRPr sz="1600" b="0">
                <a:solidFill>
                  <a:schemeClr val="bg1"/>
                </a:solidFill>
                <a:latin typeface="Calibri" panose="020F0502020204030204" pitchFamily="34" charset="0"/>
                <a:ea typeface="+mj-ea"/>
                <a:cs typeface="Calibri" panose="020F0502020204030204" pitchFamily="34" charset="0"/>
              </a:defRPr>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705"/>
            <a:ext cx="5594349" cy="298451"/>
          </a:xfrm>
          <a:prstGeom prst="rect">
            <a:avLst/>
          </a:prstGeom>
        </p:spPr>
        <p:txBody>
          <a:bodyPr/>
          <a:lstStyle>
            <a:lvl1pPr>
              <a:spcAft>
                <a:spcPts val="0"/>
              </a:spcAft>
              <a:defRPr sz="105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按一下以編輯母片文字樣式</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zh-TW" altLang="en-US" noProof="0"/>
              <a:t>按一下圖示以新增圖片</a:t>
            </a:r>
            <a:endParaRPr lang="en-US" noProof="0" dirty="0"/>
          </a:p>
        </p:txBody>
      </p:sp>
      <p:grpSp>
        <p:nvGrpSpPr>
          <p:cNvPr id="2" name="群組 1"/>
          <p:cNvGrpSpPr/>
          <p:nvPr userDrawn="1"/>
        </p:nvGrpSpPr>
        <p:grpSpPr>
          <a:xfrm>
            <a:off x="10444934" y="451571"/>
            <a:ext cx="1277166" cy="298647"/>
            <a:chOff x="463716" y="867128"/>
            <a:chExt cx="1277166" cy="298647"/>
          </a:xfrm>
        </p:grpSpPr>
        <p:sp>
          <p:nvSpPr>
            <p:cNvPr id="17"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8"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9"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0"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1"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4"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5"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6"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7"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8"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9"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4" name="群組 3"/>
          <p:cNvGrpSpPr/>
          <p:nvPr userDrawn="1"/>
        </p:nvGrpSpPr>
        <p:grpSpPr>
          <a:xfrm>
            <a:off x="462474" y="460447"/>
            <a:ext cx="1624863" cy="303614"/>
            <a:chOff x="462474" y="460447"/>
            <a:chExt cx="1624863" cy="303614"/>
          </a:xfrm>
        </p:grpSpPr>
        <p:sp>
          <p:nvSpPr>
            <p:cNvPr id="40" name="Freeform 36"/>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38"/>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Rectangle 41"/>
            <p:cNvSpPr>
              <a:spLocks noChangeArrowheads="1"/>
            </p:cNvSpPr>
            <p:nvPr/>
          </p:nvSpPr>
          <p:spPr bwMode="auto">
            <a:xfrm>
              <a:off x="969739" y="460447"/>
              <a:ext cx="75127" cy="29864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42"/>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5"/>
            <p:cNvSpPr>
              <a:spLocks noChangeArrowheads="1"/>
            </p:cNvSpPr>
            <p:nvPr/>
          </p:nvSpPr>
          <p:spPr bwMode="auto">
            <a:xfrm>
              <a:off x="1319920" y="536816"/>
              <a:ext cx="75127" cy="22227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Rectangle 46"/>
            <p:cNvSpPr>
              <a:spLocks noChangeArrowheads="1"/>
            </p:cNvSpPr>
            <p:nvPr/>
          </p:nvSpPr>
          <p:spPr bwMode="auto">
            <a:xfrm>
              <a:off x="1319920" y="460447"/>
              <a:ext cx="75127" cy="49671"/>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7"/>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49"/>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1"/>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54"/>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cxnSp>
        <p:nvCxnSpPr>
          <p:cNvPr id="32" name="直線接點 31"/>
          <p:cNvCxnSpPr/>
          <p:nvPr userDrawn="1"/>
        </p:nvCxnSpPr>
        <p:spPr>
          <a:xfrm>
            <a:off x="24926928" y="6299200"/>
            <a:ext cx="542925" cy="0"/>
          </a:xfrm>
          <a:prstGeom prst="line">
            <a:avLst/>
          </a:prstGeom>
          <a:ln/>
        </p:spPr>
        <p:style>
          <a:lnRef idx="1">
            <a:schemeClr val="dk1"/>
          </a:lnRef>
          <a:fillRef idx="0">
            <a:schemeClr val="dk1"/>
          </a:fillRef>
          <a:effectRef idx="0">
            <a:schemeClr val="dk1"/>
          </a:effectRef>
          <a:fontRef idx="minor">
            <a:schemeClr val="tx1"/>
          </a:fontRef>
        </p:style>
      </p:cxnSp>
      <p:sp>
        <p:nvSpPr>
          <p:cNvPr id="68"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69"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1"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2"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3"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4"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5"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86"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963428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6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0219"/>
            <a:ext cx="10418233" cy="1592403"/>
          </a:xfrm>
        </p:spPr>
        <p:txBody>
          <a:bodyPr anchor="b"/>
          <a:lstStyle>
            <a:lvl1pPr>
              <a:lnSpc>
                <a:spcPct val="95000"/>
              </a:lnSpc>
              <a:defRPr sz="3700" b="1">
                <a:solidFill>
                  <a:schemeClr val="bg1"/>
                </a:solidFill>
                <a:latin typeface="Calibri" panose="020F0502020204030204" pitchFamily="34" charset="0"/>
                <a:ea typeface="微軟正黑體" panose="020B0604030504040204" pitchFamily="34" charset="-120"/>
                <a:cs typeface="Calibri" panose="020F0502020204030204" pitchFamily="34" charset="0"/>
              </a:defRPr>
            </a:lvl1pPr>
          </a:lstStyle>
          <a:p>
            <a:r>
              <a:rPr lang="zh-TW" altLang="en-US" noProof="0"/>
              <a:t>按一下以編輯母片標題樣式</a:t>
            </a:r>
            <a:endParaRPr lang="en-US" noProof="0" dirty="0"/>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700">
                <a:solidFill>
                  <a:schemeClr val="bg1"/>
                </a:solidFill>
                <a:latin typeface="Calibri" panose="020F0502020204030204" pitchFamily="34" charset="0"/>
                <a:cs typeface="Calibri" panose="020F0502020204030204" pitchFamily="34" charset="0"/>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zh-TW" altLang="en-US" noProof="0"/>
              <a:t>按一下以編輯母片文字樣式</a:t>
            </a:r>
          </a:p>
        </p:txBody>
      </p:sp>
      <p:sp>
        <p:nvSpPr>
          <p:cNvPr id="13" name="TextBox 12"/>
          <p:cNvSpPr txBox="1"/>
          <p:nvPr userDrawn="1"/>
        </p:nvSpPr>
        <p:spPr>
          <a:xfrm>
            <a:off x="469905"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dirty="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14" name="TextBox 13"/>
          <p:cNvSpPr txBox="1"/>
          <p:nvPr userDrawn="1"/>
        </p:nvSpPr>
        <p:spPr>
          <a:xfrm>
            <a:off x="11414129"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dirty="0">
              <a:solidFill>
                <a:schemeClr val="bg1"/>
              </a:solidFill>
            </a:endParaRPr>
          </a:p>
        </p:txBody>
      </p:sp>
      <p:sp>
        <p:nvSpPr>
          <p:cNvPr id="16"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17"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8"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9"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0"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1"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2"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4" y="1705674"/>
            <a:ext cx="10418233" cy="1592403"/>
          </a:xfrm>
        </p:spPr>
        <p:txBody>
          <a:bodyPr anchor="b"/>
          <a:lstStyle>
            <a:lvl1pPr>
              <a:lnSpc>
                <a:spcPct val="95000"/>
              </a:lnSpc>
              <a:defRPr sz="3700" b="1">
                <a:solidFill>
                  <a:schemeClr val="bg1"/>
                </a:solidFill>
                <a:latin typeface="Calibri" panose="020F0502020204030204" pitchFamily="34" charset="0"/>
                <a:ea typeface="微軟正黑體" panose="020B0604030504040204" pitchFamily="34" charset="-120"/>
                <a:cs typeface="Calibri" panose="020F0502020204030204" pitchFamily="34" charset="0"/>
              </a:defRPr>
            </a:lvl1pPr>
          </a:lstStyle>
          <a:p>
            <a:r>
              <a:rPr lang="zh-TW" altLang="en-US" noProof="0"/>
              <a:t>按一下以編輯母片標題樣式</a:t>
            </a:r>
            <a:endParaRPr lang="en-US" noProof="0" dirty="0"/>
          </a:p>
        </p:txBody>
      </p:sp>
      <p:sp>
        <p:nvSpPr>
          <p:cNvPr id="19" name="Text Placeholder 2"/>
          <p:cNvSpPr>
            <a:spLocks noGrp="1"/>
          </p:cNvSpPr>
          <p:nvPr>
            <p:ph type="body" idx="1"/>
          </p:nvPr>
        </p:nvSpPr>
        <p:spPr bwMode="gray">
          <a:xfrm>
            <a:off x="469904" y="3429000"/>
            <a:ext cx="10418233" cy="1566532"/>
          </a:xfrm>
        </p:spPr>
        <p:txBody>
          <a:bodyPr lIns="0" tIns="0" rIns="0" bIns="0">
            <a:noAutofit/>
          </a:bodyPr>
          <a:lstStyle>
            <a:lvl1pPr marL="0" indent="0">
              <a:lnSpc>
                <a:spcPct val="95000"/>
              </a:lnSpc>
              <a:spcAft>
                <a:spcPts val="0"/>
              </a:spcAft>
              <a:buNone/>
              <a:defRPr sz="3700">
                <a:solidFill>
                  <a:schemeClr val="bg1"/>
                </a:solidFill>
                <a:latin typeface="Calibri" panose="020F0502020204030204" pitchFamily="34" charset="0"/>
                <a:cs typeface="Calibri" panose="020F0502020204030204" pitchFamily="34" charset="0"/>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zh-TW" altLang="en-US" noProof="0"/>
              <a:t>按一下以編輯母片文字樣式</a:t>
            </a:r>
          </a:p>
        </p:txBody>
      </p:sp>
      <p:sp>
        <p:nvSpPr>
          <p:cNvPr id="21" name="TextBox 20"/>
          <p:cNvSpPr txBox="1"/>
          <p:nvPr userDrawn="1"/>
        </p:nvSpPr>
        <p:spPr>
          <a:xfrm>
            <a:off x="469905"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dirty="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22" name="TextBox 21"/>
          <p:cNvSpPr txBox="1"/>
          <p:nvPr userDrawn="1"/>
        </p:nvSpPr>
        <p:spPr>
          <a:xfrm>
            <a:off x="11414129"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dirty="0">
              <a:solidFill>
                <a:schemeClr val="bg1"/>
              </a:solidFill>
            </a:endParaRPr>
          </a:p>
        </p:txBody>
      </p:sp>
      <p:sp>
        <p:nvSpPr>
          <p:cNvPr id="14"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15"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6"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7"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0"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5" name="Straight Arrow Connector 14"/>
          <p:cNvCxnSpPr/>
          <p:nvPr userDrawn="1"/>
        </p:nvCxnSpPr>
        <p:spPr>
          <a:xfrm>
            <a:off x="1172845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6"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4"/>
            <a:ext cx="10418233" cy="1592403"/>
          </a:xfrm>
        </p:spPr>
        <p:txBody>
          <a:bodyPr anchor="b"/>
          <a:lstStyle>
            <a:lvl1pPr>
              <a:lnSpc>
                <a:spcPct val="95000"/>
              </a:lnSpc>
              <a:defRPr sz="3700" b="1">
                <a:solidFill>
                  <a:schemeClr val="bg1"/>
                </a:solidFill>
                <a:latin typeface="Calibri" panose="020F0502020204030204" pitchFamily="34" charset="0"/>
                <a:ea typeface="微軟正黑體" panose="020B0604030504040204" pitchFamily="34" charset="-120"/>
                <a:cs typeface="Calibri" panose="020F0502020204030204" pitchFamily="34" charset="0"/>
              </a:defRPr>
            </a:lvl1pPr>
          </a:lstStyle>
          <a:p>
            <a:r>
              <a:rPr lang="zh-TW" altLang="en-US" noProof="0"/>
              <a:t>按一下以編輯母片標題樣式</a:t>
            </a:r>
            <a:endParaRPr lang="en-US" noProof="0" dirty="0"/>
          </a:p>
        </p:txBody>
      </p:sp>
      <p:sp>
        <p:nvSpPr>
          <p:cNvPr id="3" name="Text Placeholder 2"/>
          <p:cNvSpPr>
            <a:spLocks noGrp="1"/>
          </p:cNvSpPr>
          <p:nvPr>
            <p:ph type="body" idx="1"/>
          </p:nvPr>
        </p:nvSpPr>
        <p:spPr bwMode="gray">
          <a:xfrm>
            <a:off x="469904" y="3429000"/>
            <a:ext cx="10418233" cy="1566532"/>
          </a:xfrm>
        </p:spPr>
        <p:txBody>
          <a:bodyPr lIns="0" tIns="0" rIns="0" bIns="0">
            <a:noAutofit/>
          </a:bodyPr>
          <a:lstStyle>
            <a:lvl1pPr marL="0" indent="0">
              <a:lnSpc>
                <a:spcPct val="95000"/>
              </a:lnSpc>
              <a:spcAft>
                <a:spcPts val="0"/>
              </a:spcAft>
              <a:buNone/>
              <a:defRPr sz="3700">
                <a:solidFill>
                  <a:schemeClr val="bg1"/>
                </a:solidFill>
                <a:latin typeface="Calibri" panose="020F0502020204030204" pitchFamily="34" charset="0"/>
                <a:cs typeface="Calibri" panose="020F0502020204030204" pitchFamily="34" charset="0"/>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zh-TW" altLang="en-US" noProof="0"/>
              <a:t>按一下以編輯母片文字樣式</a:t>
            </a:r>
          </a:p>
        </p:txBody>
      </p:sp>
      <p:sp>
        <p:nvSpPr>
          <p:cNvPr id="8" name="TextBox 7"/>
          <p:cNvSpPr txBox="1"/>
          <p:nvPr userDrawn="1"/>
        </p:nvSpPr>
        <p:spPr>
          <a:xfrm>
            <a:off x="469905"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dirty="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9" name="TextBox 8"/>
          <p:cNvSpPr txBox="1"/>
          <p:nvPr userDrawn="1"/>
        </p:nvSpPr>
        <p:spPr>
          <a:xfrm>
            <a:off x="11414129"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dirty="0">
              <a:solidFill>
                <a:schemeClr val="bg1"/>
              </a:solidFill>
            </a:endParaRPr>
          </a:p>
        </p:txBody>
      </p:sp>
      <p:sp>
        <p:nvSpPr>
          <p:cNvPr id="16"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17"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8"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9"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0"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1"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2"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dark blue">
    <p:bg bwMode="gray">
      <p:bgPr>
        <a:solidFill>
          <a:schemeClr val="accent4"/>
        </a:solidFill>
        <a:effectLst/>
      </p:bgPr>
    </p:bg>
    <p:spTree>
      <p:nvGrpSpPr>
        <p:cNvPr id="1" name=""/>
        <p:cNvGrpSpPr/>
        <p:nvPr/>
      </p:nvGrpSpPr>
      <p:grpSpPr>
        <a:xfrm>
          <a:off x="0" y="0"/>
          <a:ext cx="0" cy="0"/>
          <a:chOff x="0" y="0"/>
          <a:chExt cx="0" cy="0"/>
        </a:xfrm>
      </p:grpSpPr>
      <p:pic>
        <p:nvPicPr>
          <p:cNvPr id="30" name="Deloitte_Cyber_Pulse_Background_RGB.png" descr="Deloitte_Cyber_Pulse_Background_RGB.png">
            <a:extLst>
              <a:ext uri="{FF2B5EF4-FFF2-40B4-BE49-F238E27FC236}">
                <a16:creationId xmlns:a16="http://schemas.microsoft.com/office/drawing/2014/main" id="{E9990704-DAF3-4DD7-8408-30968DCFD7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a:ln w="12700">
            <a:miter lim="400000"/>
          </a:ln>
        </p:spPr>
      </p:pic>
      <p:sp>
        <p:nvSpPr>
          <p:cNvPr id="18" name="Title 1"/>
          <p:cNvSpPr>
            <a:spLocks noGrp="1"/>
          </p:cNvSpPr>
          <p:nvPr>
            <p:ph type="title"/>
          </p:nvPr>
        </p:nvSpPr>
        <p:spPr bwMode="gray">
          <a:xfrm>
            <a:off x="469904" y="1705674"/>
            <a:ext cx="10418233" cy="1592403"/>
          </a:xfrm>
        </p:spPr>
        <p:txBody>
          <a:bodyPr anchor="b"/>
          <a:lstStyle>
            <a:lvl1pPr>
              <a:lnSpc>
                <a:spcPct val="95000"/>
              </a:lnSpc>
              <a:defRPr sz="3700" b="1">
                <a:solidFill>
                  <a:schemeClr val="bg1"/>
                </a:solidFill>
                <a:latin typeface="Calibri" panose="020F0502020204030204" pitchFamily="34" charset="0"/>
                <a:ea typeface="微軟正黑體" panose="020B0604030504040204" pitchFamily="34" charset="-120"/>
                <a:cs typeface="Calibri" panose="020F0502020204030204" pitchFamily="34" charset="0"/>
              </a:defRPr>
            </a:lvl1pPr>
          </a:lstStyle>
          <a:p>
            <a:r>
              <a:rPr lang="zh-TW" altLang="en-US" noProof="0"/>
              <a:t>按一下以編輯母片標題樣式</a:t>
            </a:r>
            <a:endParaRPr lang="en-US" noProof="0" dirty="0"/>
          </a:p>
        </p:txBody>
      </p:sp>
      <p:sp>
        <p:nvSpPr>
          <p:cNvPr id="19" name="Text Placeholder 2"/>
          <p:cNvSpPr>
            <a:spLocks noGrp="1"/>
          </p:cNvSpPr>
          <p:nvPr>
            <p:ph type="body" idx="1"/>
          </p:nvPr>
        </p:nvSpPr>
        <p:spPr bwMode="gray">
          <a:xfrm>
            <a:off x="469904" y="3429000"/>
            <a:ext cx="10418233" cy="1566532"/>
          </a:xfrm>
        </p:spPr>
        <p:txBody>
          <a:bodyPr lIns="0" tIns="0" rIns="0" bIns="0">
            <a:noAutofit/>
          </a:bodyPr>
          <a:lstStyle>
            <a:lvl1pPr marL="0" indent="0">
              <a:lnSpc>
                <a:spcPct val="95000"/>
              </a:lnSpc>
              <a:spcAft>
                <a:spcPts val="0"/>
              </a:spcAft>
              <a:buNone/>
              <a:defRPr sz="3700">
                <a:solidFill>
                  <a:schemeClr val="bg1"/>
                </a:solidFill>
                <a:latin typeface="Calibri" panose="020F0502020204030204" pitchFamily="34" charset="0"/>
                <a:cs typeface="Calibri" panose="020F0502020204030204" pitchFamily="34" charset="0"/>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zh-TW" altLang="en-US" noProof="0"/>
              <a:t>按一下以編輯母片文字樣式</a:t>
            </a:r>
          </a:p>
        </p:txBody>
      </p:sp>
      <p:sp>
        <p:nvSpPr>
          <p:cNvPr id="21" name="TextBox 20"/>
          <p:cNvSpPr txBox="1"/>
          <p:nvPr userDrawn="1"/>
        </p:nvSpPr>
        <p:spPr>
          <a:xfrm>
            <a:off x="469905"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dirty="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22" name="TextBox 21"/>
          <p:cNvSpPr txBox="1"/>
          <p:nvPr userDrawn="1"/>
        </p:nvSpPr>
        <p:spPr>
          <a:xfrm>
            <a:off x="11414129"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dirty="0">
              <a:solidFill>
                <a:schemeClr val="bg1"/>
              </a:solidFill>
            </a:endParaRPr>
          </a:p>
        </p:txBody>
      </p:sp>
      <p:sp>
        <p:nvSpPr>
          <p:cNvPr id="15"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16"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7"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5"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6"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7"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8"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pic>
        <p:nvPicPr>
          <p:cNvPr id="31" name="Deloitte_Cyber_Pulse_Surround_Isolated_RGB.png" descr="Deloitte_Cyber_Pulse_Surround_Isolated_RGB.png">
            <a:extLst>
              <a:ext uri="{FF2B5EF4-FFF2-40B4-BE49-F238E27FC236}">
                <a16:creationId xmlns:a16="http://schemas.microsoft.com/office/drawing/2014/main" id="{8A3BC5C8-A2B4-4D8B-800F-B97A33B0CF87}"/>
              </a:ext>
            </a:extLst>
          </p:cNvPr>
          <p:cNvPicPr>
            <a:picLocks noChangeAspect="1"/>
          </p:cNvPicPr>
          <p:nvPr userDrawn="1"/>
        </p:nvPicPr>
        <p:blipFill>
          <a:blip r:embed="rId3"/>
          <a:stretch>
            <a:fillRect/>
          </a:stretch>
        </p:blipFill>
        <p:spPr>
          <a:xfrm rot="13980000">
            <a:off x="-2333590" y="-4658488"/>
            <a:ext cx="28755511" cy="16174976"/>
          </a:xfrm>
          <a:prstGeom prst="rect">
            <a:avLst/>
          </a:prstGeom>
          <a:ln w="12700">
            <a:miter lim="400000"/>
          </a:ln>
        </p:spPr>
      </p:pic>
      <p:pic>
        <p:nvPicPr>
          <p:cNvPr id="32" name="Deloitte_Cyber_Pulse_Surround_Isolated_RGB.png" descr="Deloitte_Cyber_Pulse_Surround_Isolated_RGB.png">
            <a:extLst>
              <a:ext uri="{FF2B5EF4-FFF2-40B4-BE49-F238E27FC236}">
                <a16:creationId xmlns:a16="http://schemas.microsoft.com/office/drawing/2014/main" id="{F73F34F6-EEDD-42EE-8155-B05994EFD77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393494" y="-312004"/>
            <a:ext cx="13301345" cy="7482008"/>
          </a:xfrm>
          <a:prstGeom prst="rect">
            <a:avLst/>
          </a:prstGeom>
          <a:ln w="12700">
            <a:miter lim="400000"/>
          </a:ln>
        </p:spPr>
      </p:pic>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內頁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348787" cy="4633910"/>
          </a:xfrm>
          <a:prstGeom prst="rect">
            <a:avLst/>
          </a:prstGeom>
        </p:spPr>
        <p:txBody>
          <a:bodyPr/>
          <a:lstStyle>
            <a:lvl1pPr>
              <a:tabLst>
                <a:tab pos="8971878" algn="r"/>
              </a:tabLst>
              <a:defRPr sz="1300">
                <a:latin typeface="+mj-lt"/>
              </a:defRPr>
            </a:lvl1pPr>
            <a:lvl2pPr>
              <a:tabLst>
                <a:tab pos="8971878" algn="r"/>
              </a:tabLst>
              <a:defRPr sz="1300">
                <a:latin typeface="+mj-lt"/>
              </a:defRPr>
            </a:lvl2pPr>
            <a:lvl3pPr>
              <a:tabLst>
                <a:tab pos="8971878" algn="r"/>
              </a:tabLst>
              <a:defRPr sz="1300">
                <a:latin typeface="+mj-lt"/>
              </a:defRPr>
            </a:lvl3pPr>
            <a:lvl4pPr>
              <a:tabLst>
                <a:tab pos="8971878" algn="r"/>
              </a:tabLst>
              <a:defRPr sz="1300">
                <a:latin typeface="+mj-lt"/>
              </a:defRPr>
            </a:lvl4pPr>
            <a:lvl5pPr>
              <a:tabLst>
                <a:tab pos="6705096" algn="r"/>
              </a:tabLst>
              <a:defRPr sz="1300" baseline="0">
                <a:latin typeface="+mj-lt"/>
              </a:defRPr>
            </a:lvl5pPr>
            <a:lvl6pPr>
              <a:tabLst>
                <a:tab pos="8971878" algn="r"/>
              </a:tabLst>
              <a:defRPr/>
            </a:lvl6pPr>
            <a:lvl7pPr>
              <a:tabLst>
                <a:tab pos="8971878" algn="r"/>
              </a:tabLst>
              <a:defRPr/>
            </a:lvl7pPr>
            <a:lvl8pPr>
              <a:tabLst>
                <a:tab pos="8971878" algn="r"/>
              </a:tabLst>
              <a:defRPr/>
            </a:lvl8pPr>
            <a:lvl9pPr>
              <a:tabLst>
                <a:tab pos="8971878" algn="r"/>
              </a:tabLst>
              <a:defRPr/>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5"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6"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100">
                <a:latin typeface="+mj-lt"/>
              </a:defRPr>
            </a:lvl1pPr>
          </a:lstStyle>
          <a:p>
            <a:r>
              <a:rPr lang="zh-TW" altLang="en-US" noProof="0" dirty="0"/>
              <a:t>按一下以編輯母片標題樣式 </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內頁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2" y="1700213"/>
            <a:ext cx="6117233" cy="4598988"/>
          </a:xfrm>
        </p:spPr>
        <p:txBody>
          <a:bodyPr/>
          <a:lstStyle/>
          <a:p>
            <a:r>
              <a:rPr lang="zh-TW" altLang="en-US" noProof="0"/>
              <a:t>按一下圖示以新增圖片</a:t>
            </a:r>
            <a:endParaRPr lang="en-US" noProof="0" dirty="0"/>
          </a:p>
        </p:txBody>
      </p:sp>
      <p:sp>
        <p:nvSpPr>
          <p:cNvPr id="6" name="Content Placeholder 3"/>
          <p:cNvSpPr>
            <a:spLocks noGrp="1"/>
          </p:cNvSpPr>
          <p:nvPr>
            <p:ph sz="quarter" idx="10"/>
          </p:nvPr>
        </p:nvSpPr>
        <p:spPr>
          <a:xfrm>
            <a:off x="469905" y="1665290"/>
            <a:ext cx="4333663" cy="4633911"/>
          </a:xfrm>
          <a:prstGeom prst="rect">
            <a:avLst/>
          </a:prstGeom>
        </p:spPr>
        <p:txBody>
          <a:bodyPr/>
          <a:lstStyle>
            <a:lvl1pPr>
              <a:tabLst>
                <a:tab pos="6705096" algn="r"/>
              </a:tabLst>
              <a:defRPr sz="1300">
                <a:latin typeface="+mn-ea"/>
                <a:ea typeface="+mn-ea"/>
              </a:defRPr>
            </a:lvl1pPr>
            <a:lvl2pPr>
              <a:tabLst>
                <a:tab pos="6705096" algn="r"/>
              </a:tabLst>
              <a:defRPr sz="1300">
                <a:latin typeface="+mn-ea"/>
                <a:ea typeface="+mn-ea"/>
              </a:defRPr>
            </a:lvl2pPr>
            <a:lvl3pPr>
              <a:tabLst>
                <a:tab pos="6705096" algn="r"/>
              </a:tabLst>
              <a:defRPr sz="1300">
                <a:latin typeface="+mn-ea"/>
                <a:ea typeface="+mn-ea"/>
              </a:defRPr>
            </a:lvl3pPr>
            <a:lvl4pPr>
              <a:tabLst>
                <a:tab pos="6705096" algn="r"/>
              </a:tabLst>
              <a:defRPr sz="1300">
                <a:latin typeface="+mn-ea"/>
                <a:ea typeface="+mn-ea"/>
              </a:defRPr>
            </a:lvl4pPr>
            <a:lvl5pPr>
              <a:tabLst>
                <a:tab pos="6705096" algn="r"/>
              </a:tabLst>
              <a:defRPr sz="1300" baseline="0">
                <a:latin typeface="+mn-ea"/>
                <a:ea typeface="+mn-ea"/>
              </a:defRPr>
            </a:lvl5p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dirty="0"/>
          </a:p>
        </p:txBody>
      </p:sp>
      <p:sp>
        <p:nvSpPr>
          <p:cNvPr id="8"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100"/>
            </a:lvl1pPr>
          </a:lstStyle>
          <a:p>
            <a:r>
              <a:rPr lang="zh-TW" altLang="en-US" noProof="0"/>
              <a:t>按一下以編輯母片標題樣式</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內頁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lvl1pPr>
              <a:defRPr sz="1300">
                <a:latin typeface="+mn-lt"/>
              </a:defRPr>
            </a:lvl1pPr>
            <a:lvl2pPr>
              <a:defRPr sz="1300">
                <a:latin typeface="+mn-lt"/>
              </a:defRPr>
            </a:lvl2pPr>
            <a:lvl3pPr>
              <a:defRPr sz="1300">
                <a:latin typeface="+mn-lt"/>
              </a:defRPr>
            </a:lvl3pPr>
            <a:lvl4pPr>
              <a:defRPr sz="1300">
                <a:latin typeface="+mn-lt"/>
              </a:defRPr>
            </a:lvl4pPr>
            <a:lvl5pPr>
              <a:defRPr sz="1300">
                <a:latin typeface="+mn-lt"/>
              </a:defRPr>
            </a:lvl5p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dirty="0"/>
          </a:p>
        </p:txBody>
      </p:sp>
      <p:sp>
        <p:nvSpPr>
          <p:cNvPr id="4"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zh-TW" altLang="en-US" noProof="0"/>
              <a:t>按一下以編輯母片標題樣式</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內頁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14"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100"/>
            </a:lvl1pPr>
          </a:lstStyle>
          <a:p>
            <a:r>
              <a:rPr lang="zh-TW" altLang="en-US" noProof="0" dirty="0"/>
              <a:t>按一下以編輯母片標題樣式 </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defRPr sz="1300">
                <a:latin typeface="+mn-lt"/>
              </a:defRPr>
            </a:lvl1pPr>
            <a:lvl2pPr>
              <a:defRPr sz="1300">
                <a:latin typeface="+mn-lt"/>
              </a:defRPr>
            </a:lvl2pPr>
            <a:lvl3pPr>
              <a:defRPr sz="1300">
                <a:latin typeface="+mn-lt"/>
              </a:defRPr>
            </a:lvl3pPr>
            <a:lvl4pPr>
              <a:defRPr sz="1300">
                <a:latin typeface="+mn-lt"/>
              </a:defRPr>
            </a:lvl4pPr>
            <a:lvl5pPr>
              <a:defRPr sz="1300">
                <a:latin typeface="+mn-lt"/>
              </a:defRPr>
            </a:lvl5p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內頁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5"/>
            <a:ext cx="11252200" cy="3928209"/>
          </a:xfrm>
          <a:prstGeom prst="rect">
            <a:avLst/>
          </a:prstGeom>
        </p:spPr>
        <p:txBody>
          <a:bodyPr/>
          <a:lstStyle/>
          <a:p>
            <a:r>
              <a:rPr lang="zh-TW" altLang="en-US" noProof="0"/>
              <a:t>按一下圖示以新增圖表</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lvl1pPr>
              <a:defRPr>
                <a:latin typeface="Calibri" panose="020F0502020204030204" pitchFamily="34" charset="0"/>
                <a:ea typeface="+mn-ea"/>
                <a:cs typeface="Calibri" panose="020F0502020204030204" pitchFamily="34" charset="0"/>
              </a:defRPr>
            </a:lvl1pPr>
          </a:lstStyle>
          <a:p>
            <a:pPr lvl="0"/>
            <a:r>
              <a:rPr lang="zh-TW" altLang="en-US" noProof="0"/>
              <a:t>按一下以編輯母片文字樣式</a:t>
            </a:r>
          </a:p>
        </p:txBody>
      </p:sp>
      <p:sp>
        <p:nvSpPr>
          <p:cNvPr id="19" name="Text Placeholder 7"/>
          <p:cNvSpPr>
            <a:spLocks noGrp="1"/>
          </p:cNvSpPr>
          <p:nvPr>
            <p:ph type="body" sz="quarter" idx="23"/>
          </p:nvPr>
        </p:nvSpPr>
        <p:spPr>
          <a:xfrm>
            <a:off x="468004" y="5982796"/>
            <a:ext cx="11252201" cy="316411"/>
          </a:xfrm>
        </p:spPr>
        <p:txBody>
          <a:bodyPr>
            <a:noAutofit/>
          </a:bodyPr>
          <a:lstStyle>
            <a:lvl1pPr>
              <a:spcAft>
                <a:spcPts val="0"/>
              </a:spcAft>
              <a:defRPr sz="900"/>
            </a:lvl1pPr>
          </a:lstStyle>
          <a:p>
            <a:pPr lvl="0"/>
            <a:r>
              <a:rPr lang="zh-TW" altLang="en-US" noProof="0"/>
              <a:t>按一下以編輯母片文字樣式</a:t>
            </a:r>
          </a:p>
        </p:txBody>
      </p:sp>
      <p:sp>
        <p:nvSpPr>
          <p:cNvPr id="7"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100">
                <a:latin typeface="+mj-lt"/>
              </a:defRPr>
            </a:lvl1pPr>
          </a:lstStyle>
          <a:p>
            <a:r>
              <a:rPr lang="zh-TW" altLang="en-US" noProof="0"/>
              <a:t>按一下以編輯母片標題樣式</a:t>
            </a:r>
            <a:endParaRPr lang="en-US" noProof="0" dirty="0"/>
          </a:p>
        </p:txBody>
      </p:sp>
      <p:cxnSp>
        <p:nvCxnSpPr>
          <p:cNvPr id="12" name="直線接點 11"/>
          <p:cNvCxnSpPr/>
          <p:nvPr userDrawn="1"/>
        </p:nvCxnSpPr>
        <p:spPr>
          <a:xfrm flipV="1">
            <a:off x="11722100" y="-447675"/>
            <a:ext cx="0" cy="3600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13" name="直線接點 12"/>
          <p:cNvCxnSpPr/>
          <p:nvPr userDrawn="1"/>
        </p:nvCxnSpPr>
        <p:spPr>
          <a:xfrm flipV="1">
            <a:off x="11722100" y="6953250"/>
            <a:ext cx="0" cy="3600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14" name="直線接點 13"/>
          <p:cNvCxnSpPr/>
          <p:nvPr userDrawn="1"/>
        </p:nvCxnSpPr>
        <p:spPr>
          <a:xfrm flipV="1">
            <a:off x="462471" y="6943725"/>
            <a:ext cx="0" cy="3600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15" name="直線接點 14"/>
          <p:cNvCxnSpPr/>
          <p:nvPr userDrawn="1"/>
        </p:nvCxnSpPr>
        <p:spPr>
          <a:xfrm flipV="1">
            <a:off x="462471" y="-464775"/>
            <a:ext cx="0" cy="3600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內頁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100"/>
            </a:lvl1pPr>
          </a:lstStyle>
          <a:p>
            <a:r>
              <a:rPr lang="zh-TW" altLang="en-US" noProof="0"/>
              <a:t>按一下以編輯母片標題樣式</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首頁_白底圖片">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266268"/>
            <a:ext cx="5594348" cy="1084564"/>
          </a:xfrm>
          <a:prstGeom prst="rect">
            <a:avLst/>
          </a:prstGeom>
        </p:spPr>
        <p:txBody>
          <a:bodyPr lIns="0" tIns="0" rIns="0" bIns="0" anchor="b" anchorCtr="0">
            <a:noAutofit/>
          </a:bodyPr>
          <a:lstStyle>
            <a:lvl1pPr marL="0" indent="0" algn="l">
              <a:lnSpc>
                <a:spcPct val="100000"/>
              </a:lnSpc>
              <a:spcAft>
                <a:spcPts val="0"/>
              </a:spcAft>
              <a:buNone/>
              <a:defRPr sz="1800" b="0">
                <a:solidFill>
                  <a:srgbClr val="86BC25"/>
                </a:solidFill>
                <a:latin typeface="Calibri" panose="020F0502020204030204" pitchFamily="34" charset="0"/>
                <a:ea typeface="+mj-ea"/>
                <a:cs typeface="Calibri" panose="020F0502020204030204" pitchFamily="34" charset="0"/>
              </a:defRPr>
            </a:lvl1pPr>
            <a:lvl2pPr marL="0" indent="0" algn="l">
              <a:buNone/>
              <a:defRPr sz="1800" b="0">
                <a:latin typeface="Calibri" panose="020F0502020204030204" pitchFamily="34" charset="0"/>
                <a:ea typeface="+mj-ea"/>
                <a:cs typeface="Calibri" panose="020F0502020204030204" pitchFamily="34" charset="0"/>
              </a:defRPr>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en-US" altLang="zh-TW"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705"/>
            <a:ext cx="5594349" cy="298451"/>
          </a:xfrm>
          <a:prstGeom prst="rect">
            <a:avLst/>
          </a:prstGeom>
        </p:spPr>
        <p:txBody>
          <a:bodyPr>
            <a:noAutofit/>
          </a:bodyPr>
          <a:lstStyle>
            <a:lvl1pPr>
              <a:spcAft>
                <a:spcPts val="0"/>
              </a:spcAft>
              <a:defRPr sz="105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按一下以編輯母片文字樣式</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zh-TW" altLang="en-US" noProof="0"/>
              <a:t>按一下圖示以新增圖片</a:t>
            </a:r>
            <a:endParaRPr lang="en-US" noProof="0" dirty="0"/>
          </a:p>
        </p:txBody>
      </p:sp>
      <p:grpSp>
        <p:nvGrpSpPr>
          <p:cNvPr id="2" name="群組 1"/>
          <p:cNvGrpSpPr/>
          <p:nvPr userDrawn="1"/>
        </p:nvGrpSpPr>
        <p:grpSpPr>
          <a:xfrm>
            <a:off x="475329" y="454400"/>
            <a:ext cx="1624863" cy="303614"/>
            <a:chOff x="475329" y="454400"/>
            <a:chExt cx="1624863" cy="303614"/>
          </a:xfrm>
        </p:grpSpPr>
        <p:sp>
          <p:nvSpPr>
            <p:cNvPr id="40" name="Freeform 36"/>
            <p:cNvSpPr>
              <a:spLocks/>
            </p:cNvSpPr>
            <p:nvPr/>
          </p:nvSpPr>
          <p:spPr bwMode="auto">
            <a:xfrm>
              <a:off x="2015130" y="671090"/>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38"/>
            <p:cNvSpPr>
              <a:spLocks noEditPoints="1"/>
            </p:cNvSpPr>
            <p:nvPr/>
          </p:nvSpPr>
          <p:spPr bwMode="auto">
            <a:xfrm>
              <a:off x="475329" y="455642"/>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Rectangle 41"/>
            <p:cNvSpPr>
              <a:spLocks noChangeArrowheads="1"/>
            </p:cNvSpPr>
            <p:nvPr/>
          </p:nvSpPr>
          <p:spPr bwMode="auto">
            <a:xfrm>
              <a:off x="982594" y="454400"/>
              <a:ext cx="75127" cy="29864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42"/>
            <p:cNvSpPr>
              <a:spLocks noEditPoints="1"/>
            </p:cNvSpPr>
            <p:nvPr/>
          </p:nvSpPr>
          <p:spPr bwMode="auto">
            <a:xfrm>
              <a:off x="1086903" y="527044"/>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5"/>
            <p:cNvSpPr>
              <a:spLocks noChangeArrowheads="1"/>
            </p:cNvSpPr>
            <p:nvPr/>
          </p:nvSpPr>
          <p:spPr bwMode="auto">
            <a:xfrm>
              <a:off x="1332775" y="530769"/>
              <a:ext cx="75127" cy="22227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Rectangle 46"/>
            <p:cNvSpPr>
              <a:spLocks noChangeArrowheads="1"/>
            </p:cNvSpPr>
            <p:nvPr/>
          </p:nvSpPr>
          <p:spPr bwMode="auto">
            <a:xfrm>
              <a:off x="1332775" y="454400"/>
              <a:ext cx="75127" cy="49671"/>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7"/>
            <p:cNvSpPr>
              <a:spLocks/>
            </p:cNvSpPr>
            <p:nvPr/>
          </p:nvSpPr>
          <p:spPr bwMode="auto">
            <a:xfrm>
              <a:off x="1437705"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49"/>
            <p:cNvSpPr>
              <a:spLocks/>
            </p:cNvSpPr>
            <p:nvPr/>
          </p:nvSpPr>
          <p:spPr bwMode="auto">
            <a:xfrm>
              <a:off x="1610933"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1"/>
            <p:cNvSpPr>
              <a:spLocks noEditPoints="1"/>
            </p:cNvSpPr>
            <p:nvPr/>
          </p:nvSpPr>
          <p:spPr bwMode="auto">
            <a:xfrm>
              <a:off x="178602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54"/>
            <p:cNvSpPr>
              <a:spLocks noEditPoints="1"/>
            </p:cNvSpPr>
            <p:nvPr/>
          </p:nvSpPr>
          <p:spPr bwMode="auto">
            <a:xfrm>
              <a:off x="74417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55"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56"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1"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2"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3"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50" name="群組 49"/>
          <p:cNvGrpSpPr/>
          <p:nvPr userDrawn="1"/>
        </p:nvGrpSpPr>
        <p:grpSpPr>
          <a:xfrm>
            <a:off x="10444934" y="451571"/>
            <a:ext cx="1277166" cy="298647"/>
            <a:chOff x="463716" y="867128"/>
            <a:chExt cx="1277166" cy="298647"/>
          </a:xfrm>
          <a:solidFill>
            <a:schemeClr val="tx1"/>
          </a:solidFill>
        </p:grpSpPr>
        <p:sp>
          <p:nvSpPr>
            <p:cNvPr id="51"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52"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3"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4"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4"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5"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6"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7"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8"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9"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0"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01202784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內頁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8"/>
            <a:ext cx="5544000" cy="1695451"/>
          </a:xfrm>
        </p:spPr>
        <p:txBody>
          <a:bodyPr>
            <a:noAutofit/>
          </a:bodyPr>
          <a:lstStyle>
            <a:lvl1pPr>
              <a:spcAft>
                <a:spcPts val="1333"/>
              </a:spcAft>
              <a:defRPr sz="1300" b="1">
                <a:solidFill>
                  <a:schemeClr val="accent1"/>
                </a:solidFill>
                <a:latin typeface="+mj-lt"/>
              </a:defRPr>
            </a:lvl1pPr>
            <a:lvl2pPr>
              <a:spcAft>
                <a:spcPts val="1333"/>
              </a:spcAft>
              <a:defRPr sz="1300">
                <a:latin typeface="+mj-lt"/>
              </a:defRPr>
            </a:lvl2pPr>
            <a:lvl3pPr marL="0" indent="0">
              <a:spcAft>
                <a:spcPts val="1333"/>
              </a:spcAft>
              <a:buNone/>
              <a:defRPr sz="1300">
                <a:latin typeface="+mj-lt"/>
              </a:defRPr>
            </a:lvl3pPr>
            <a:lvl4pPr marL="235183" indent="-235183">
              <a:spcAft>
                <a:spcPts val="1333"/>
              </a:spcAft>
              <a:buFont typeface="Arial" panose="020B0604020202020204" pitchFamily="34" charset="0"/>
              <a:buChar char="•"/>
              <a:defRPr sz="1300">
                <a:latin typeface="+mj-lt"/>
              </a:defRPr>
            </a:lvl4pPr>
            <a:lvl5pPr marL="475164" indent="-235183">
              <a:spcAft>
                <a:spcPts val="1333"/>
              </a:spcAft>
              <a:defRPr sz="1300" baseline="0">
                <a:latin typeface="+mj-lt"/>
              </a:defRPr>
            </a:lvl5pPr>
            <a:lvl6pPr marL="475164" indent="-235183">
              <a:spcAft>
                <a:spcPts val="1333"/>
              </a:spcAft>
              <a:buFont typeface="Verdana" panose="020B0604030504040204" pitchFamily="34" charset="0"/>
              <a:buChar char="−"/>
              <a:defRPr/>
            </a:lvl6pPr>
            <a:lvl7pPr marL="475164" indent="-235183">
              <a:spcAft>
                <a:spcPts val="1333"/>
              </a:spcAft>
              <a:defRPr/>
            </a:lvl7pPr>
            <a:lvl8pPr marL="475164" indent="-235183">
              <a:spcAft>
                <a:spcPts val="1333"/>
              </a:spcAft>
              <a:defRPr/>
            </a:lvl8pPr>
            <a:lvl9pPr marL="475164" indent="-235183">
              <a:spcAft>
                <a:spcPts val="1333"/>
              </a:spcAft>
              <a:defRPr/>
            </a:lvl9p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dirty="0"/>
          </a:p>
        </p:txBody>
      </p:sp>
      <p:sp>
        <p:nvSpPr>
          <p:cNvPr id="9" name="Text Placeholder 8"/>
          <p:cNvSpPr>
            <a:spLocks noGrp="1"/>
          </p:cNvSpPr>
          <p:nvPr>
            <p:ph type="body" sz="quarter" idx="21"/>
          </p:nvPr>
        </p:nvSpPr>
        <p:spPr>
          <a:xfrm>
            <a:off x="6177463" y="1857898"/>
            <a:ext cx="5544000" cy="1695451"/>
          </a:xfrm>
        </p:spPr>
        <p:txBody>
          <a:bodyPr>
            <a:noAutofit/>
          </a:bodyPr>
          <a:lstStyle>
            <a:lvl1pPr>
              <a:spcAft>
                <a:spcPts val="1333"/>
              </a:spcAft>
              <a:defRPr sz="1300" b="1">
                <a:solidFill>
                  <a:schemeClr val="accent1"/>
                </a:solidFill>
                <a:latin typeface="+mn-lt"/>
              </a:defRPr>
            </a:lvl1pPr>
            <a:lvl2pPr>
              <a:spcAft>
                <a:spcPts val="1333"/>
              </a:spcAft>
              <a:defRPr sz="1300">
                <a:latin typeface="+mn-lt"/>
              </a:defRPr>
            </a:lvl2pPr>
            <a:lvl3pPr marL="0" indent="0">
              <a:spcAft>
                <a:spcPts val="1333"/>
              </a:spcAft>
              <a:buNone/>
              <a:defRPr sz="1300">
                <a:latin typeface="+mn-lt"/>
              </a:defRPr>
            </a:lvl3pPr>
            <a:lvl4pPr marL="235183" indent="-235183">
              <a:spcAft>
                <a:spcPts val="1333"/>
              </a:spcAft>
              <a:buFont typeface="Arial" panose="020B0604020202020204" pitchFamily="34" charset="0"/>
              <a:buChar char="•"/>
              <a:defRPr sz="1300">
                <a:latin typeface="+mn-lt"/>
              </a:defRPr>
            </a:lvl4pPr>
            <a:lvl5pPr marL="475164" indent="-235183">
              <a:spcAft>
                <a:spcPts val="1333"/>
              </a:spcAft>
              <a:defRPr sz="1300" baseline="0">
                <a:latin typeface="+mn-lt"/>
              </a:defRPr>
            </a:lvl5pPr>
            <a:lvl6pPr marL="475164" indent="-235183">
              <a:spcAft>
                <a:spcPts val="1333"/>
              </a:spcAft>
              <a:buFont typeface="Verdana" panose="020B0604030504040204" pitchFamily="34" charset="0"/>
              <a:buChar char="−"/>
              <a:defRPr/>
            </a:lvl6pPr>
            <a:lvl7pPr marL="475164" indent="-235183">
              <a:spcAft>
                <a:spcPts val="1333"/>
              </a:spcAft>
              <a:defRPr/>
            </a:lvl7pPr>
            <a:lvl8pPr marL="475164" indent="-235183">
              <a:spcAft>
                <a:spcPts val="1333"/>
              </a:spcAft>
              <a:defRPr/>
            </a:lvl8pPr>
            <a:lvl9pPr marL="475164" indent="-235183">
              <a:spcAft>
                <a:spcPts val="1333"/>
              </a:spcAft>
              <a:defRPr/>
            </a:lvl9p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40" y="1857898"/>
            <a:ext cx="1244161" cy="549275"/>
          </a:xfrm>
        </p:spPr>
        <p:txBody>
          <a:bodyPr>
            <a:noAutofit/>
          </a:bodyPr>
          <a:lstStyle>
            <a:lvl1pPr marL="0" marR="0" indent="0" algn="l" defTabSz="121911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7"/>
            <a:ext cx="5544000" cy="1695451"/>
          </a:xfrm>
        </p:spPr>
        <p:txBody>
          <a:bodyPr>
            <a:noAutofit/>
          </a:bodyPr>
          <a:lstStyle>
            <a:lvl1pPr>
              <a:spcAft>
                <a:spcPts val="1333"/>
              </a:spcAft>
              <a:defRPr sz="1300" b="1">
                <a:solidFill>
                  <a:schemeClr val="accent1"/>
                </a:solidFill>
                <a:latin typeface="+mn-lt"/>
              </a:defRPr>
            </a:lvl1pPr>
            <a:lvl2pPr>
              <a:spcAft>
                <a:spcPts val="1333"/>
              </a:spcAft>
              <a:defRPr sz="1300">
                <a:latin typeface="+mn-lt"/>
              </a:defRPr>
            </a:lvl2pPr>
            <a:lvl3pPr marL="0" indent="0">
              <a:spcAft>
                <a:spcPts val="1333"/>
              </a:spcAft>
              <a:buNone/>
              <a:defRPr sz="1300">
                <a:latin typeface="+mn-lt"/>
              </a:defRPr>
            </a:lvl3pPr>
            <a:lvl4pPr marL="235183" indent="-235183">
              <a:spcAft>
                <a:spcPts val="1333"/>
              </a:spcAft>
              <a:buFont typeface="Arial" panose="020B0604020202020204" pitchFamily="34" charset="0"/>
              <a:buChar char="•"/>
              <a:defRPr sz="1300">
                <a:latin typeface="+mn-lt"/>
              </a:defRPr>
            </a:lvl4pPr>
            <a:lvl5pPr marL="475164" indent="-235183">
              <a:spcAft>
                <a:spcPts val="1333"/>
              </a:spcAft>
              <a:defRPr sz="1300" baseline="0">
                <a:latin typeface="+mn-lt"/>
              </a:defRPr>
            </a:lvl5pPr>
            <a:lvl6pPr marL="475164" indent="-235183">
              <a:spcAft>
                <a:spcPts val="1333"/>
              </a:spcAft>
              <a:buFont typeface="Verdana" panose="020B0604030504040204" pitchFamily="34" charset="0"/>
              <a:buChar char="−"/>
              <a:defRPr/>
            </a:lvl6pPr>
            <a:lvl7pPr marL="475164" indent="-235183">
              <a:spcAft>
                <a:spcPts val="1333"/>
              </a:spcAft>
              <a:defRPr/>
            </a:lvl7pPr>
            <a:lvl8pPr marL="475164" indent="-235183">
              <a:spcAft>
                <a:spcPts val="1333"/>
              </a:spcAft>
              <a:defRPr/>
            </a:lvl8pPr>
            <a:lvl9pPr marL="475164" indent="-235183">
              <a:spcAft>
                <a:spcPts val="1333"/>
              </a:spcAft>
              <a:defRPr/>
            </a:lvl9p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dirty="0"/>
          </a:p>
        </p:txBody>
      </p:sp>
      <p:sp>
        <p:nvSpPr>
          <p:cNvPr id="11" name="Text Placeholder 8"/>
          <p:cNvSpPr>
            <a:spLocks noGrp="1"/>
          </p:cNvSpPr>
          <p:nvPr>
            <p:ph type="body" sz="quarter" idx="23"/>
          </p:nvPr>
        </p:nvSpPr>
        <p:spPr>
          <a:xfrm>
            <a:off x="6177460" y="4249687"/>
            <a:ext cx="5544000" cy="1695451"/>
          </a:xfrm>
        </p:spPr>
        <p:txBody>
          <a:bodyPr>
            <a:noAutofit/>
          </a:bodyPr>
          <a:lstStyle>
            <a:lvl1pPr>
              <a:spcAft>
                <a:spcPts val="1333"/>
              </a:spcAft>
              <a:defRPr sz="1300" b="1">
                <a:solidFill>
                  <a:schemeClr val="accent1"/>
                </a:solidFill>
                <a:latin typeface="+mn-lt"/>
              </a:defRPr>
            </a:lvl1pPr>
            <a:lvl2pPr>
              <a:spcAft>
                <a:spcPts val="1333"/>
              </a:spcAft>
              <a:defRPr sz="1300">
                <a:latin typeface="+mn-lt"/>
              </a:defRPr>
            </a:lvl2pPr>
            <a:lvl3pPr marL="0" indent="0">
              <a:spcAft>
                <a:spcPts val="1333"/>
              </a:spcAft>
              <a:buNone/>
              <a:defRPr sz="1300">
                <a:latin typeface="+mn-lt"/>
              </a:defRPr>
            </a:lvl3pPr>
            <a:lvl4pPr marL="235183" indent="-235183">
              <a:spcAft>
                <a:spcPts val="1333"/>
              </a:spcAft>
              <a:buFont typeface="Arial" panose="020B0604020202020204" pitchFamily="34" charset="0"/>
              <a:buChar char="•"/>
              <a:defRPr sz="1300">
                <a:latin typeface="+mn-lt"/>
              </a:defRPr>
            </a:lvl4pPr>
            <a:lvl5pPr marL="475164" indent="-235183">
              <a:spcAft>
                <a:spcPts val="1333"/>
              </a:spcAft>
              <a:defRPr sz="1300" baseline="0">
                <a:latin typeface="+mn-lt"/>
              </a:defRPr>
            </a:lvl5pPr>
            <a:lvl6pPr marL="475164" indent="-235183">
              <a:spcAft>
                <a:spcPts val="1333"/>
              </a:spcAft>
              <a:buFont typeface="Verdana" panose="020B0604030504040204" pitchFamily="34" charset="0"/>
              <a:buChar char="−"/>
              <a:defRPr/>
            </a:lvl6pPr>
            <a:lvl7pPr marL="475164" indent="-235183">
              <a:spcAft>
                <a:spcPts val="1333"/>
              </a:spcAft>
              <a:defRPr/>
            </a:lvl7pPr>
            <a:lvl8pPr marL="475164" indent="-235183">
              <a:spcAft>
                <a:spcPts val="1333"/>
              </a:spcAft>
              <a:defRPr/>
            </a:lvl8pPr>
            <a:lvl9pPr marL="475164" indent="-235183">
              <a:spcAft>
                <a:spcPts val="1333"/>
              </a:spcAft>
              <a:defRPr/>
            </a:lvl9p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9" y="4249689"/>
            <a:ext cx="1274916" cy="549275"/>
          </a:xfrm>
        </p:spPr>
        <p:txBody>
          <a:bodyPr>
            <a:noAutofit/>
          </a:bodyPr>
          <a:lstStyle>
            <a:lvl1pPr marL="0" marR="0" indent="0" algn="l" defTabSz="121911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5"/>
            <a:ext cx="1244160" cy="549275"/>
          </a:xfrm>
        </p:spPr>
        <p:txBody>
          <a:bodyPr>
            <a:noAutofit/>
          </a:bodyPr>
          <a:lstStyle>
            <a:lvl1pPr marL="0" marR="0" indent="0" algn="l" defTabSz="121911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7" y="1863923"/>
            <a:ext cx="1244907" cy="549275"/>
          </a:xfrm>
        </p:spPr>
        <p:txBody>
          <a:bodyPr>
            <a:noAutofit/>
          </a:bodyPr>
          <a:lstStyle>
            <a:lvl1pPr marL="0" marR="0" indent="0" algn="l" defTabSz="121911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100"/>
            </a:lvl1pPr>
          </a:lstStyle>
          <a:p>
            <a:r>
              <a:rPr lang="zh-TW" altLang="en-US" noProof="0"/>
              <a:t>按一下以編輯母片標題樣式</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內頁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sz="1300" b="1">
                <a:solidFill>
                  <a:schemeClr val="bg1"/>
                </a:solidFill>
                <a:latin typeface="+mn-lt"/>
              </a:defRPr>
            </a:lvl1pPr>
            <a:lvl2pPr>
              <a:spcAft>
                <a:spcPts val="1333"/>
              </a:spcAft>
              <a:defRPr sz="1300">
                <a:solidFill>
                  <a:schemeClr val="bg1"/>
                </a:solidFill>
                <a:latin typeface="+mn-lt"/>
              </a:defRPr>
            </a:lvl2pPr>
            <a:lvl3pPr marL="0" indent="0">
              <a:spcAft>
                <a:spcPts val="1333"/>
              </a:spcAft>
              <a:buNone/>
              <a:defRPr sz="1300">
                <a:solidFill>
                  <a:schemeClr val="bg1"/>
                </a:solidFill>
                <a:latin typeface="+mn-lt"/>
              </a:defRPr>
            </a:lvl3pPr>
            <a:lvl4pPr marL="235183" indent="-235183">
              <a:spcAft>
                <a:spcPts val="1333"/>
              </a:spcAft>
              <a:buFont typeface="Arial" panose="020B0604020202020204" pitchFamily="34" charset="0"/>
              <a:buChar char="•"/>
              <a:defRPr sz="1300">
                <a:solidFill>
                  <a:schemeClr val="bg1"/>
                </a:solidFill>
                <a:latin typeface="+mn-lt"/>
              </a:defRPr>
            </a:lvl4pPr>
            <a:lvl5pPr marL="475164" indent="-235183">
              <a:spcAft>
                <a:spcPts val="1333"/>
              </a:spcAft>
              <a:defRPr sz="1300" baseline="0">
                <a:solidFill>
                  <a:schemeClr val="bg1"/>
                </a:solidFill>
                <a:latin typeface="+mn-lt"/>
              </a:defRPr>
            </a:lvl5pPr>
            <a:lvl6pPr marL="475164" indent="-235183">
              <a:spcAft>
                <a:spcPts val="1333"/>
              </a:spcAft>
              <a:buFont typeface="Verdana" panose="020B0604030504040204" pitchFamily="34" charset="0"/>
              <a:buChar char="−"/>
              <a:defRPr>
                <a:solidFill>
                  <a:schemeClr val="bg1"/>
                </a:solidFill>
              </a:defRPr>
            </a:lvl6pPr>
            <a:lvl7pPr marL="475164" indent="-235183">
              <a:spcAft>
                <a:spcPts val="1333"/>
              </a:spcAft>
              <a:defRPr>
                <a:solidFill>
                  <a:schemeClr val="bg1"/>
                </a:solidFill>
              </a:defRPr>
            </a:lvl7pPr>
            <a:lvl8pPr marL="475164" indent="-235183">
              <a:spcAft>
                <a:spcPts val="1333"/>
              </a:spcAft>
              <a:defRPr>
                <a:solidFill>
                  <a:schemeClr val="bg1"/>
                </a:solidFill>
              </a:defRPr>
            </a:lvl8pPr>
            <a:lvl9pPr marL="475164" indent="-235183">
              <a:spcAft>
                <a:spcPts val="1333"/>
              </a:spcAft>
              <a:defRPr>
                <a:solidFill>
                  <a:schemeClr val="bg1"/>
                </a:solidFill>
              </a:defRPr>
            </a:lvl9p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sz="1300" b="1">
                <a:solidFill>
                  <a:schemeClr val="bg1"/>
                </a:solidFill>
                <a:latin typeface="+mn-lt"/>
              </a:defRPr>
            </a:lvl1pPr>
            <a:lvl2pPr>
              <a:spcAft>
                <a:spcPts val="1333"/>
              </a:spcAft>
              <a:defRPr sz="1300">
                <a:solidFill>
                  <a:schemeClr val="bg1"/>
                </a:solidFill>
                <a:latin typeface="+mn-lt"/>
              </a:defRPr>
            </a:lvl2pPr>
            <a:lvl3pPr marL="0" indent="0">
              <a:spcAft>
                <a:spcPts val="1333"/>
              </a:spcAft>
              <a:buNone/>
              <a:defRPr sz="1300">
                <a:solidFill>
                  <a:schemeClr val="bg1"/>
                </a:solidFill>
                <a:latin typeface="+mn-lt"/>
              </a:defRPr>
            </a:lvl3pPr>
            <a:lvl4pPr marL="235183" indent="-235183">
              <a:spcAft>
                <a:spcPts val="1333"/>
              </a:spcAft>
              <a:buFont typeface="Arial" panose="020B0604020202020204" pitchFamily="34" charset="0"/>
              <a:buChar char="•"/>
              <a:defRPr sz="1300">
                <a:solidFill>
                  <a:schemeClr val="bg1"/>
                </a:solidFill>
                <a:latin typeface="+mn-lt"/>
              </a:defRPr>
            </a:lvl4pPr>
            <a:lvl5pPr marL="475164" indent="-235183">
              <a:spcAft>
                <a:spcPts val="1333"/>
              </a:spcAft>
              <a:defRPr sz="1300" baseline="0">
                <a:solidFill>
                  <a:schemeClr val="bg1"/>
                </a:solidFill>
                <a:latin typeface="+mn-lt"/>
              </a:defRPr>
            </a:lvl5pPr>
            <a:lvl6pPr marL="475164" indent="-235183">
              <a:spcAft>
                <a:spcPts val="1333"/>
              </a:spcAft>
              <a:buFont typeface="Verdana" panose="020B0604030504040204" pitchFamily="34" charset="0"/>
              <a:buChar char="−"/>
              <a:defRPr>
                <a:solidFill>
                  <a:schemeClr val="bg1"/>
                </a:solidFill>
              </a:defRPr>
            </a:lvl6pPr>
            <a:lvl7pPr marL="475164" indent="-235183">
              <a:spcAft>
                <a:spcPts val="1333"/>
              </a:spcAft>
              <a:defRPr>
                <a:solidFill>
                  <a:schemeClr val="bg1"/>
                </a:solidFill>
              </a:defRPr>
            </a:lvl7pPr>
            <a:lvl8pPr marL="475164" indent="-235183">
              <a:spcAft>
                <a:spcPts val="1333"/>
              </a:spcAft>
              <a:defRPr>
                <a:solidFill>
                  <a:schemeClr val="bg1"/>
                </a:solidFill>
              </a:defRPr>
            </a:lvl8pPr>
            <a:lvl9pPr marL="475164" indent="-235183">
              <a:spcAft>
                <a:spcPts val="1333"/>
              </a:spcAft>
              <a:defRPr>
                <a:solidFill>
                  <a:schemeClr val="bg1"/>
                </a:solidFill>
              </a:defRPr>
            </a:lvl9p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sz="1300" b="1">
                <a:solidFill>
                  <a:schemeClr val="bg1"/>
                </a:solidFill>
                <a:latin typeface="+mn-lt"/>
              </a:defRPr>
            </a:lvl1pPr>
            <a:lvl2pPr>
              <a:spcAft>
                <a:spcPts val="1333"/>
              </a:spcAft>
              <a:defRPr sz="1300">
                <a:solidFill>
                  <a:schemeClr val="bg1"/>
                </a:solidFill>
                <a:latin typeface="+mn-lt"/>
              </a:defRPr>
            </a:lvl2pPr>
            <a:lvl3pPr marL="0" indent="0">
              <a:spcAft>
                <a:spcPts val="1333"/>
              </a:spcAft>
              <a:buNone/>
              <a:defRPr sz="1300">
                <a:solidFill>
                  <a:schemeClr val="bg1"/>
                </a:solidFill>
                <a:latin typeface="+mn-lt"/>
              </a:defRPr>
            </a:lvl3pPr>
            <a:lvl4pPr marL="235183" indent="-235183">
              <a:spcAft>
                <a:spcPts val="1333"/>
              </a:spcAft>
              <a:buFont typeface="Arial" panose="020B0604020202020204" pitchFamily="34" charset="0"/>
              <a:buChar char="•"/>
              <a:defRPr sz="1300">
                <a:solidFill>
                  <a:schemeClr val="bg1"/>
                </a:solidFill>
                <a:latin typeface="+mn-lt"/>
              </a:defRPr>
            </a:lvl4pPr>
            <a:lvl5pPr marL="475164" indent="-235183">
              <a:spcAft>
                <a:spcPts val="1333"/>
              </a:spcAft>
              <a:defRPr sz="1300" baseline="0">
                <a:solidFill>
                  <a:schemeClr val="bg1"/>
                </a:solidFill>
                <a:latin typeface="+mn-lt"/>
              </a:defRPr>
            </a:lvl5pPr>
            <a:lvl6pPr marL="475164" indent="-235183">
              <a:spcAft>
                <a:spcPts val="1333"/>
              </a:spcAft>
              <a:buFont typeface="Verdana" panose="020B0604030504040204" pitchFamily="34" charset="0"/>
              <a:buChar char="−"/>
              <a:defRPr>
                <a:solidFill>
                  <a:schemeClr val="bg1"/>
                </a:solidFill>
              </a:defRPr>
            </a:lvl6pPr>
            <a:lvl7pPr marL="475164" indent="-235183">
              <a:spcAft>
                <a:spcPts val="1333"/>
              </a:spcAft>
              <a:defRPr>
                <a:solidFill>
                  <a:schemeClr val="bg1"/>
                </a:solidFill>
              </a:defRPr>
            </a:lvl7pPr>
            <a:lvl8pPr marL="475164" indent="-235183">
              <a:spcAft>
                <a:spcPts val="1333"/>
              </a:spcAft>
              <a:defRPr>
                <a:solidFill>
                  <a:schemeClr val="bg1"/>
                </a:solidFill>
              </a:defRPr>
            </a:lvl8pPr>
            <a:lvl9pPr marL="475164" indent="-235183">
              <a:spcAft>
                <a:spcPts val="1333"/>
              </a:spcAft>
              <a:defRPr>
                <a:solidFill>
                  <a:schemeClr val="bg1"/>
                </a:solidFill>
              </a:defRPr>
            </a:lvl9p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sz="1300" b="1">
                <a:solidFill>
                  <a:schemeClr val="bg1"/>
                </a:solidFill>
                <a:latin typeface="+mn-lt"/>
              </a:defRPr>
            </a:lvl1pPr>
            <a:lvl2pPr>
              <a:spcAft>
                <a:spcPts val="1333"/>
              </a:spcAft>
              <a:defRPr sz="1300">
                <a:solidFill>
                  <a:schemeClr val="bg1"/>
                </a:solidFill>
                <a:latin typeface="+mn-lt"/>
              </a:defRPr>
            </a:lvl2pPr>
            <a:lvl3pPr marL="0" indent="0">
              <a:spcAft>
                <a:spcPts val="1333"/>
              </a:spcAft>
              <a:buNone/>
              <a:defRPr sz="1300">
                <a:solidFill>
                  <a:schemeClr val="bg1"/>
                </a:solidFill>
                <a:latin typeface="+mn-lt"/>
              </a:defRPr>
            </a:lvl3pPr>
            <a:lvl4pPr marL="235183" indent="-235183">
              <a:spcAft>
                <a:spcPts val="1333"/>
              </a:spcAft>
              <a:buFont typeface="Arial" panose="020B0604020202020204" pitchFamily="34" charset="0"/>
              <a:buChar char="•"/>
              <a:defRPr sz="1300">
                <a:solidFill>
                  <a:schemeClr val="bg1"/>
                </a:solidFill>
                <a:latin typeface="+mn-lt"/>
              </a:defRPr>
            </a:lvl4pPr>
            <a:lvl5pPr marL="475164" indent="-235183">
              <a:spcAft>
                <a:spcPts val="1333"/>
              </a:spcAft>
              <a:defRPr sz="1300" baseline="0">
                <a:solidFill>
                  <a:schemeClr val="bg1"/>
                </a:solidFill>
                <a:latin typeface="+mn-lt"/>
              </a:defRPr>
            </a:lvl5pPr>
            <a:lvl6pPr marL="475164" indent="-235183">
              <a:spcAft>
                <a:spcPts val="1333"/>
              </a:spcAft>
              <a:buFont typeface="Verdana" panose="020B0604030504040204" pitchFamily="34" charset="0"/>
              <a:buChar char="−"/>
              <a:defRPr>
                <a:solidFill>
                  <a:schemeClr val="bg1"/>
                </a:solidFill>
              </a:defRPr>
            </a:lvl6pPr>
            <a:lvl7pPr marL="475164" indent="-235183">
              <a:spcAft>
                <a:spcPts val="1333"/>
              </a:spcAft>
              <a:defRPr>
                <a:solidFill>
                  <a:schemeClr val="bg1"/>
                </a:solidFill>
              </a:defRPr>
            </a:lvl7pPr>
            <a:lvl8pPr marL="475164" indent="-235183">
              <a:spcAft>
                <a:spcPts val="1333"/>
              </a:spcAft>
              <a:defRPr>
                <a:solidFill>
                  <a:schemeClr val="bg1"/>
                </a:solidFill>
              </a:defRPr>
            </a:lvl8pPr>
            <a:lvl9pPr marL="475164" indent="-235183">
              <a:spcAft>
                <a:spcPts val="1333"/>
              </a:spcAft>
              <a:defRPr>
                <a:solidFill>
                  <a:schemeClr val="bg1"/>
                </a:solidFill>
              </a:defRPr>
            </a:lvl9p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dirty="0"/>
          </a:p>
        </p:txBody>
      </p:sp>
      <p:sp>
        <p:nvSpPr>
          <p:cNvPr id="14" name="TextBox 13"/>
          <p:cNvSpPr txBox="1"/>
          <p:nvPr userDrawn="1"/>
        </p:nvSpPr>
        <p:spPr>
          <a:xfrm>
            <a:off x="501656"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dirty="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15" name="TextBox 14"/>
          <p:cNvSpPr txBox="1"/>
          <p:nvPr userDrawn="1"/>
        </p:nvSpPr>
        <p:spPr>
          <a:xfrm>
            <a:off x="11382382" y="6477003"/>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dirty="0">
              <a:solidFill>
                <a:schemeClr val="bg1"/>
              </a:solidFill>
            </a:endParaRPr>
          </a:p>
        </p:txBody>
      </p:sp>
      <p:sp>
        <p:nvSpPr>
          <p:cNvPr id="16"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100" b="0">
                <a:solidFill>
                  <a:schemeClr val="bg1"/>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zh-TW" altLang="en-US" noProof="0"/>
              <a:t>按一下以編輯母片標題樣式</a:t>
            </a:r>
            <a:endParaRPr lang="en-US" noProof="0" dirty="0"/>
          </a:p>
        </p:txBody>
      </p:sp>
      <p:sp>
        <p:nvSpPr>
          <p:cNvPr id="2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2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3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內頁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5" y="1665818"/>
            <a:ext cx="5537731" cy="4633383"/>
          </a:xfrm>
          <a:prstGeom prst="rect">
            <a:avLst/>
          </a:prstGeom>
        </p:spPr>
        <p:txBody>
          <a:bodyPr vert="horz" lIns="0" tIns="0" rIns="0" bIns="0" rtlCol="0">
            <a:noAutofit/>
          </a:bodyPr>
          <a:lstStyle>
            <a:lvl1pPr>
              <a:defRPr sz="1300">
                <a:latin typeface="+mn-lt"/>
              </a:defRPr>
            </a:lvl1pPr>
            <a:lvl2pPr>
              <a:defRPr sz="1300">
                <a:latin typeface="+mn-lt"/>
              </a:defRPr>
            </a:lvl2pPr>
            <a:lvl3pPr>
              <a:defRPr sz="1300">
                <a:latin typeface="+mn-lt"/>
              </a:defRPr>
            </a:lvl3pPr>
            <a:lvl4pPr>
              <a:defRPr sz="1300">
                <a:latin typeface="+mn-lt"/>
              </a:defRPr>
            </a:lvl4pPr>
            <a:lvl5pPr>
              <a:defRPr sz="1300">
                <a:latin typeface="+mn-lt"/>
              </a:defRPr>
            </a:lvl5p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dirty="0"/>
          </a:p>
        </p:txBody>
      </p:sp>
      <p:sp>
        <p:nvSpPr>
          <p:cNvPr id="5"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100"/>
            </a:lvl1pPr>
          </a:lstStyle>
          <a:p>
            <a:r>
              <a:rPr lang="zh-TW" altLang="en-US" noProof="0"/>
              <a:t>按一下以編輯母片標題樣式</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內頁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2"/>
            <a:ext cx="11252200" cy="698501"/>
          </a:xfrm>
          <a:prstGeom prst="rect">
            <a:avLst/>
          </a:prstGeom>
        </p:spPr>
        <p:txBody>
          <a:bodyPr vert="horz" lIns="0" tIns="0" rIns="0" bIns="0" rtlCol="0" anchor="t" anchorCtr="0">
            <a:noAutofit/>
          </a:bodyPr>
          <a:lstStyle>
            <a:lvl1pPr>
              <a:defRPr sz="2000"/>
            </a:lvl1pPr>
          </a:lstStyle>
          <a:p>
            <a:r>
              <a:rPr lang="zh-TW" altLang="en-US" noProof="0"/>
              <a:t>按一下以編輯母片標題樣式</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內頁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封底_中文_法律聲明">
    <p:bg>
      <p:bgPr>
        <a:solidFill>
          <a:schemeClr val="tx1"/>
        </a:solidFill>
        <a:effectLst/>
      </p:bgPr>
    </p:bg>
    <p:spTree>
      <p:nvGrpSpPr>
        <p:cNvPr id="1" name=""/>
        <p:cNvGrpSpPr/>
        <p:nvPr/>
      </p:nvGrpSpPr>
      <p:grpSpPr>
        <a:xfrm>
          <a:off x="0" y="0"/>
          <a:ext cx="0" cy="0"/>
          <a:chOff x="0" y="0"/>
          <a:chExt cx="0" cy="0"/>
        </a:xfrm>
      </p:grpSpPr>
      <p:sp>
        <p:nvSpPr>
          <p:cNvPr id="6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6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pic>
        <p:nvPicPr>
          <p:cNvPr id="38" name="Picture 2" descr="C:\Users\molin\Desktop\generator.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49327" y="5541939"/>
            <a:ext cx="712216" cy="712216"/>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群組 35"/>
          <p:cNvGrpSpPr/>
          <p:nvPr userDrawn="1"/>
        </p:nvGrpSpPr>
        <p:grpSpPr>
          <a:xfrm>
            <a:off x="10444934" y="451571"/>
            <a:ext cx="1277166" cy="298647"/>
            <a:chOff x="463716" y="867128"/>
            <a:chExt cx="1277166" cy="298647"/>
          </a:xfrm>
        </p:grpSpPr>
        <p:sp>
          <p:nvSpPr>
            <p:cNvPr id="39"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40"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50" name="群組 49"/>
          <p:cNvGrpSpPr/>
          <p:nvPr userDrawn="1"/>
        </p:nvGrpSpPr>
        <p:grpSpPr>
          <a:xfrm>
            <a:off x="462474" y="460447"/>
            <a:ext cx="1624863" cy="303614"/>
            <a:chOff x="462474" y="460447"/>
            <a:chExt cx="1624863" cy="303614"/>
          </a:xfrm>
        </p:grpSpPr>
        <p:sp>
          <p:nvSpPr>
            <p:cNvPr id="51" name="Freeform 36"/>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2" name="Freeform 38"/>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3" name="Rectangle 41"/>
            <p:cNvSpPr>
              <a:spLocks noChangeArrowheads="1"/>
            </p:cNvSpPr>
            <p:nvPr/>
          </p:nvSpPr>
          <p:spPr bwMode="auto">
            <a:xfrm>
              <a:off x="969739" y="460447"/>
              <a:ext cx="75127" cy="29864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4" name="Freeform 42"/>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5" name="Rectangle 45"/>
            <p:cNvSpPr>
              <a:spLocks noChangeArrowheads="1"/>
            </p:cNvSpPr>
            <p:nvPr/>
          </p:nvSpPr>
          <p:spPr bwMode="auto">
            <a:xfrm>
              <a:off x="1319920" y="536816"/>
              <a:ext cx="75127" cy="22227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6" name="Rectangle 46"/>
            <p:cNvSpPr>
              <a:spLocks noChangeArrowheads="1"/>
            </p:cNvSpPr>
            <p:nvPr/>
          </p:nvSpPr>
          <p:spPr bwMode="auto">
            <a:xfrm>
              <a:off x="1319920" y="460447"/>
              <a:ext cx="75127" cy="49671"/>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7" name="Freeform 47"/>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8" name="Freeform 49"/>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9" name="Freeform 51"/>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2" name="Freeform 54"/>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37" name="文字方塊 36"/>
          <p:cNvSpPr txBox="1"/>
          <p:nvPr userDrawn="1"/>
        </p:nvSpPr>
        <p:spPr>
          <a:xfrm>
            <a:off x="475330" y="4161274"/>
            <a:ext cx="6131948" cy="2092881"/>
          </a:xfrm>
          <a:prstGeom prst="rect">
            <a:avLst/>
          </a:prstGeom>
          <a:noFill/>
        </p:spPr>
        <p:txBody>
          <a:bodyPr wrap="square" lIns="0" tIns="0" rIns="0" bIns="0" rtlCol="0">
            <a:spAutoFit/>
          </a:bodyPr>
          <a:lstStyle/>
          <a:p>
            <a:r>
              <a:rPr lang="en-US" altLang="zh-TW" sz="800" kern="1200" dirty="0">
                <a:solidFill>
                  <a:schemeClr val="bg1"/>
                </a:solidFill>
                <a:effectLst/>
                <a:latin typeface="+mn-lt"/>
                <a:ea typeface="+mn-ea"/>
                <a:cs typeface="+mn-cs"/>
              </a:rPr>
              <a:t>Deloitte</a:t>
            </a:r>
            <a:r>
              <a:rPr lang="zh-TW" altLang="zh-TW" sz="800" kern="1200" dirty="0">
                <a:solidFill>
                  <a:schemeClr val="bg1"/>
                </a:solidFill>
                <a:effectLst/>
                <a:latin typeface="+mn-lt"/>
                <a:ea typeface="+mn-ea"/>
                <a:cs typeface="+mn-cs"/>
              </a:rPr>
              <a:t>泛指</a:t>
            </a:r>
            <a:r>
              <a:rPr lang="en-US" altLang="zh-TW" sz="800" kern="1200" dirty="0">
                <a:solidFill>
                  <a:schemeClr val="bg1"/>
                </a:solidFill>
                <a:effectLst/>
                <a:latin typeface="+mn-lt"/>
                <a:ea typeface="+mn-ea"/>
                <a:cs typeface="+mn-cs"/>
              </a:rPr>
              <a:t>Deloitte </a:t>
            </a:r>
            <a:r>
              <a:rPr lang="en-US" altLang="zh-TW" sz="800" kern="1200" dirty="0" err="1">
                <a:solidFill>
                  <a:schemeClr val="bg1"/>
                </a:solidFill>
                <a:effectLst/>
                <a:latin typeface="+mn-lt"/>
                <a:ea typeface="+mn-ea"/>
                <a:cs typeface="+mn-cs"/>
              </a:rPr>
              <a:t>Touche</a:t>
            </a:r>
            <a:r>
              <a:rPr lang="en-US" altLang="zh-TW" sz="800" kern="1200" dirty="0">
                <a:solidFill>
                  <a:schemeClr val="bg1"/>
                </a:solidFill>
                <a:effectLst/>
                <a:latin typeface="+mn-lt"/>
                <a:ea typeface="+mn-ea"/>
                <a:cs typeface="+mn-cs"/>
              </a:rPr>
              <a:t> Tohmatsu Limited</a:t>
            </a:r>
            <a:r>
              <a:rPr lang="zh-TW" altLang="zh-TW" sz="800" kern="1200" dirty="0">
                <a:solidFill>
                  <a:schemeClr val="bg1"/>
                </a:solidFill>
                <a:effectLst/>
                <a:latin typeface="+mn-lt"/>
                <a:ea typeface="+mn-ea"/>
                <a:cs typeface="+mn-cs"/>
              </a:rPr>
              <a:t>（簡稱</a:t>
            </a:r>
            <a:r>
              <a:rPr lang="en-US" altLang="zh-TW" sz="800" kern="1200" dirty="0">
                <a:solidFill>
                  <a:schemeClr val="bg1"/>
                </a:solidFill>
                <a:effectLst/>
                <a:latin typeface="+mn-lt"/>
                <a:ea typeface="+mn-ea"/>
                <a:cs typeface="+mn-cs"/>
              </a:rPr>
              <a:t>“DTTL”</a:t>
            </a:r>
            <a:r>
              <a:rPr lang="zh-TW" altLang="zh-TW" sz="800" kern="1200" dirty="0">
                <a:solidFill>
                  <a:schemeClr val="bg1"/>
                </a:solidFill>
                <a:effectLst/>
                <a:latin typeface="+mn-lt"/>
                <a:ea typeface="+mn-ea"/>
                <a:cs typeface="+mn-cs"/>
              </a:rPr>
              <a:t>），以及其一家或多家全球會員所網絡及其相關實體（統稱為</a:t>
            </a:r>
            <a:r>
              <a:rPr lang="en-US" altLang="zh-TW" sz="800" kern="1200" dirty="0">
                <a:solidFill>
                  <a:schemeClr val="bg1"/>
                </a:solidFill>
                <a:effectLst/>
                <a:latin typeface="+mn-lt"/>
                <a:ea typeface="+mn-ea"/>
                <a:cs typeface="+mn-cs"/>
              </a:rPr>
              <a:t>“Deloitte</a:t>
            </a:r>
            <a:r>
              <a:rPr lang="zh-TW" altLang="zh-TW" sz="800" kern="1200" dirty="0">
                <a:solidFill>
                  <a:schemeClr val="bg1"/>
                </a:solidFill>
                <a:effectLst/>
                <a:latin typeface="+mn-lt"/>
                <a:ea typeface="+mn-ea"/>
                <a:cs typeface="+mn-cs"/>
              </a:rPr>
              <a:t>組織</a:t>
            </a:r>
            <a:r>
              <a:rPr lang="en-US" altLang="zh-TW" sz="800" kern="1200" dirty="0">
                <a:solidFill>
                  <a:schemeClr val="bg1"/>
                </a:solidFill>
                <a:effectLst/>
                <a:latin typeface="+mn-lt"/>
                <a:ea typeface="+mn-ea"/>
                <a:cs typeface="+mn-cs"/>
              </a:rPr>
              <a:t>”</a:t>
            </a:r>
            <a:r>
              <a:rPr lang="zh-TW" altLang="zh-TW" sz="800" kern="1200" dirty="0">
                <a:solidFill>
                  <a:schemeClr val="bg1"/>
                </a:solidFill>
                <a:effectLst/>
                <a:latin typeface="+mn-lt"/>
                <a:ea typeface="+mn-ea"/>
                <a:cs typeface="+mn-cs"/>
              </a:rPr>
              <a:t>）。</a:t>
            </a:r>
            <a:r>
              <a:rPr lang="en-US" altLang="zh-TW" sz="800" kern="1200" dirty="0">
                <a:solidFill>
                  <a:schemeClr val="bg1"/>
                </a:solidFill>
                <a:effectLst/>
                <a:latin typeface="+mn-lt"/>
                <a:ea typeface="+mn-ea"/>
                <a:cs typeface="+mn-cs"/>
              </a:rPr>
              <a:t> DTTL</a:t>
            </a:r>
            <a:r>
              <a:rPr lang="zh-TW" altLang="zh-TW" sz="800" kern="1200" dirty="0">
                <a:solidFill>
                  <a:schemeClr val="bg1"/>
                </a:solidFill>
                <a:effectLst/>
                <a:latin typeface="+mn-lt"/>
                <a:ea typeface="+mn-ea"/>
                <a:cs typeface="+mn-cs"/>
              </a:rPr>
              <a:t>（也稱為</a:t>
            </a:r>
            <a:r>
              <a:rPr lang="en-US" altLang="zh-TW" sz="800" kern="1200" dirty="0">
                <a:solidFill>
                  <a:schemeClr val="bg1"/>
                </a:solidFill>
                <a:effectLst/>
                <a:latin typeface="+mn-lt"/>
                <a:ea typeface="+mn-ea"/>
                <a:cs typeface="+mn-cs"/>
              </a:rPr>
              <a:t>“Deloitte </a:t>
            </a:r>
            <a:r>
              <a:rPr lang="zh-TW" altLang="zh-TW" sz="800" kern="1200" dirty="0">
                <a:solidFill>
                  <a:schemeClr val="bg1"/>
                </a:solidFill>
                <a:effectLst/>
                <a:latin typeface="+mn-lt"/>
                <a:ea typeface="+mn-ea"/>
                <a:cs typeface="+mn-cs"/>
              </a:rPr>
              <a:t>全球</a:t>
            </a:r>
            <a:r>
              <a:rPr lang="en-US" altLang="zh-TW" sz="800" kern="1200" dirty="0">
                <a:solidFill>
                  <a:schemeClr val="bg1"/>
                </a:solidFill>
                <a:effectLst/>
                <a:latin typeface="+mn-lt"/>
                <a:ea typeface="+mn-ea"/>
                <a:cs typeface="+mn-cs"/>
              </a:rPr>
              <a:t>”</a:t>
            </a:r>
            <a:r>
              <a:rPr lang="zh-TW" altLang="zh-TW" sz="800" kern="1200" dirty="0">
                <a:solidFill>
                  <a:schemeClr val="bg1"/>
                </a:solidFill>
                <a:effectLst/>
                <a:latin typeface="+mn-lt"/>
                <a:ea typeface="+mn-ea"/>
                <a:cs typeface="+mn-cs"/>
              </a:rPr>
              <a:t>）每一個會員所及其相關實體均為具有獨立法律地位之個別法律實體，彼此之間不對第三方承擔義務或約束。</a:t>
            </a:r>
            <a:r>
              <a:rPr lang="en-US" altLang="zh-TW" sz="800" kern="1200" dirty="0">
                <a:solidFill>
                  <a:schemeClr val="bg1"/>
                </a:solidFill>
                <a:effectLst/>
                <a:latin typeface="+mn-lt"/>
                <a:ea typeface="+mn-ea"/>
                <a:cs typeface="+mn-cs"/>
              </a:rPr>
              <a:t> DTTL</a:t>
            </a:r>
            <a:r>
              <a:rPr lang="zh-TW" altLang="zh-TW" sz="800" kern="1200" dirty="0">
                <a:solidFill>
                  <a:schemeClr val="bg1"/>
                </a:solidFill>
                <a:effectLst/>
                <a:latin typeface="+mn-lt"/>
                <a:ea typeface="+mn-ea"/>
                <a:cs typeface="+mn-cs"/>
              </a:rPr>
              <a:t>每一個會員所及其相關實體僅對其自身的作為和疏失負責，而不對其他的作為承擔責任。</a:t>
            </a:r>
            <a:r>
              <a:rPr lang="en-US" altLang="zh-TW" sz="800" kern="1200" dirty="0">
                <a:solidFill>
                  <a:schemeClr val="bg1"/>
                </a:solidFill>
                <a:effectLst/>
                <a:latin typeface="+mn-lt"/>
                <a:ea typeface="+mn-ea"/>
                <a:cs typeface="+mn-cs"/>
              </a:rPr>
              <a:t> DTTL</a:t>
            </a:r>
            <a:r>
              <a:rPr lang="zh-TW" altLang="zh-TW" sz="800" kern="1200" dirty="0">
                <a:solidFill>
                  <a:schemeClr val="bg1"/>
                </a:solidFill>
                <a:effectLst/>
                <a:latin typeface="+mn-lt"/>
                <a:ea typeface="+mn-ea"/>
                <a:cs typeface="+mn-cs"/>
              </a:rPr>
              <a:t>並不向客戶提供服務。 更多相關資訊，請參閱</a:t>
            </a:r>
            <a:r>
              <a:rPr lang="en-US" altLang="zh-TW" sz="800" u="sng" kern="1200" dirty="0">
                <a:solidFill>
                  <a:schemeClr val="bg1"/>
                </a:solidFill>
                <a:effectLst/>
                <a:latin typeface="+mn-lt"/>
                <a:ea typeface="+mn-ea"/>
                <a:cs typeface="+mn-cs"/>
                <a:hlinkClick r:id="rId3"/>
              </a:rPr>
              <a:t>www.deloitte.com/about </a:t>
            </a:r>
            <a:r>
              <a:rPr lang="en-US" altLang="zh-TW" sz="800" u="none" strike="noStrike" kern="1200" dirty="0" err="1">
                <a:solidFill>
                  <a:schemeClr val="bg1"/>
                </a:solidFill>
                <a:effectLst/>
                <a:latin typeface="+mn-lt"/>
                <a:ea typeface="+mn-ea"/>
                <a:cs typeface="+mn-cs"/>
              </a:rPr>
              <a:t>了解更多</a:t>
            </a:r>
            <a:r>
              <a:rPr lang="zh-TW" altLang="zh-TW" sz="800" kern="1200" dirty="0">
                <a:solidFill>
                  <a:schemeClr val="bg1"/>
                </a:solidFill>
                <a:effectLst/>
                <a:latin typeface="+mn-lt"/>
                <a:ea typeface="+mn-ea"/>
                <a:cs typeface="+mn-cs"/>
              </a:rPr>
              <a:t>。</a:t>
            </a:r>
          </a:p>
          <a:p>
            <a:r>
              <a:rPr lang="en-US" altLang="zh-TW" sz="800" kern="1200" dirty="0">
                <a:solidFill>
                  <a:schemeClr val="bg1"/>
                </a:solidFill>
                <a:effectLst/>
                <a:latin typeface="+mn-lt"/>
                <a:ea typeface="+mn-ea"/>
                <a:cs typeface="+mn-cs"/>
              </a:rPr>
              <a:t> </a:t>
            </a:r>
            <a:endParaRPr lang="zh-TW" altLang="zh-TW" sz="800" kern="1200" dirty="0">
              <a:solidFill>
                <a:schemeClr val="bg1"/>
              </a:solidFill>
              <a:effectLst/>
              <a:latin typeface="+mn-lt"/>
              <a:ea typeface="+mn-ea"/>
              <a:cs typeface="+mn-cs"/>
            </a:endParaRPr>
          </a:p>
          <a:p>
            <a:r>
              <a:rPr lang="en-US" altLang="zh-TW" sz="800" kern="1200" dirty="0">
                <a:solidFill>
                  <a:schemeClr val="bg1"/>
                </a:solidFill>
                <a:effectLst/>
                <a:latin typeface="+mn-lt"/>
                <a:ea typeface="+mn-ea"/>
                <a:cs typeface="+mn-cs"/>
              </a:rPr>
              <a:t>Deloitte </a:t>
            </a:r>
            <a:r>
              <a:rPr lang="zh-TW" altLang="zh-TW" sz="800" kern="1200" dirty="0">
                <a:solidFill>
                  <a:schemeClr val="bg1"/>
                </a:solidFill>
                <a:effectLst/>
                <a:latin typeface="+mn-lt"/>
                <a:ea typeface="+mn-ea"/>
                <a:cs typeface="+mn-cs"/>
              </a:rPr>
              <a:t>亞太</a:t>
            </a:r>
            <a:r>
              <a:rPr lang="en-US" altLang="zh-TW" sz="800" kern="1200" dirty="0">
                <a:solidFill>
                  <a:schemeClr val="bg1"/>
                </a:solidFill>
                <a:effectLst/>
                <a:latin typeface="+mn-lt"/>
                <a:ea typeface="+mn-ea"/>
                <a:cs typeface="+mn-cs"/>
              </a:rPr>
              <a:t>(Deloitte AP)</a:t>
            </a:r>
            <a:r>
              <a:rPr lang="zh-TW" altLang="zh-TW" sz="800" kern="1200" dirty="0">
                <a:solidFill>
                  <a:schemeClr val="bg1"/>
                </a:solidFill>
                <a:effectLst/>
                <a:latin typeface="+mn-lt"/>
                <a:ea typeface="+mn-ea"/>
                <a:cs typeface="+mn-cs"/>
              </a:rPr>
              <a:t>是一家私人擔保有限公司，也是</a:t>
            </a:r>
            <a:r>
              <a:rPr lang="en-US" altLang="zh-TW" sz="800" kern="1200" dirty="0">
                <a:solidFill>
                  <a:schemeClr val="bg1"/>
                </a:solidFill>
                <a:effectLst/>
                <a:latin typeface="+mn-lt"/>
                <a:ea typeface="+mn-ea"/>
                <a:cs typeface="+mn-cs"/>
              </a:rPr>
              <a:t>DTTL</a:t>
            </a:r>
            <a:r>
              <a:rPr lang="zh-TW" altLang="zh-TW" sz="800" kern="1200" dirty="0">
                <a:solidFill>
                  <a:schemeClr val="bg1"/>
                </a:solidFill>
                <a:effectLst/>
                <a:latin typeface="+mn-lt"/>
                <a:ea typeface="+mn-ea"/>
                <a:cs typeface="+mn-cs"/>
              </a:rPr>
              <a:t>的一家會員所。</a:t>
            </a:r>
            <a:r>
              <a:rPr lang="en-US" altLang="zh-TW" sz="800" kern="1200" dirty="0">
                <a:solidFill>
                  <a:schemeClr val="bg1"/>
                </a:solidFill>
                <a:effectLst/>
                <a:latin typeface="+mn-lt"/>
                <a:ea typeface="+mn-ea"/>
                <a:cs typeface="+mn-cs"/>
              </a:rPr>
              <a:t>Deloitte </a:t>
            </a:r>
            <a:r>
              <a:rPr lang="zh-TW" altLang="zh-TW" sz="800" kern="1200" dirty="0">
                <a:solidFill>
                  <a:schemeClr val="bg1"/>
                </a:solidFill>
                <a:effectLst/>
                <a:latin typeface="+mn-lt"/>
                <a:ea typeface="+mn-ea"/>
                <a:cs typeface="+mn-cs"/>
              </a:rPr>
              <a:t>亞太及其相關實體的成員，皆為具有獨立法律地位之個別法律實體，提供來自</a:t>
            </a:r>
            <a:r>
              <a:rPr lang="en-US" altLang="zh-TW" sz="800" kern="1200" dirty="0">
                <a:solidFill>
                  <a:schemeClr val="bg1"/>
                </a:solidFill>
                <a:effectLst/>
                <a:latin typeface="+mn-lt"/>
                <a:ea typeface="+mn-ea"/>
                <a:cs typeface="+mn-cs"/>
              </a:rPr>
              <a:t>100</a:t>
            </a:r>
            <a:r>
              <a:rPr lang="zh-TW" altLang="zh-TW" sz="800" kern="1200" dirty="0">
                <a:solidFill>
                  <a:schemeClr val="bg1"/>
                </a:solidFill>
                <a:effectLst/>
                <a:latin typeface="+mn-lt"/>
                <a:ea typeface="+mn-ea"/>
                <a:cs typeface="+mn-cs"/>
              </a:rPr>
              <a:t>多個城市的服務，包括：奧克蘭、曼谷、北京、河內、香港、雅加達、吉隆坡、馬尼拉、墨爾本、大阪、首爾、上海、新加坡、雪梨、台北和東京。</a:t>
            </a:r>
          </a:p>
          <a:p>
            <a:r>
              <a:rPr lang="en-US" altLang="zh-TW" sz="800" kern="1200" dirty="0">
                <a:solidFill>
                  <a:schemeClr val="bg1"/>
                </a:solidFill>
                <a:effectLst/>
                <a:latin typeface="+mn-lt"/>
                <a:ea typeface="+mn-ea"/>
                <a:cs typeface="+mn-cs"/>
              </a:rPr>
              <a:t> </a:t>
            </a:r>
            <a:endParaRPr lang="zh-TW" altLang="zh-TW" sz="800" kern="1200" dirty="0">
              <a:solidFill>
                <a:schemeClr val="bg1"/>
              </a:solidFill>
              <a:effectLst/>
              <a:latin typeface="+mn-lt"/>
              <a:ea typeface="+mn-ea"/>
              <a:cs typeface="+mn-cs"/>
            </a:endParaRPr>
          </a:p>
          <a:p>
            <a:r>
              <a:rPr lang="zh-TW" altLang="zh-TW" sz="800" kern="1200" dirty="0">
                <a:solidFill>
                  <a:schemeClr val="bg1"/>
                </a:solidFill>
                <a:effectLst/>
                <a:latin typeface="+mn-lt"/>
                <a:ea typeface="+mn-ea"/>
                <a:cs typeface="+mn-cs"/>
              </a:rPr>
              <a:t>本出版物係依一般性資訊編寫而成，僅供讀者參考之用。</a:t>
            </a:r>
            <a:r>
              <a:rPr lang="en-US" altLang="zh-TW" sz="800" kern="1200" dirty="0">
                <a:solidFill>
                  <a:schemeClr val="bg1"/>
                </a:solidFill>
                <a:effectLst/>
                <a:latin typeface="+mn-lt"/>
                <a:ea typeface="+mn-ea"/>
                <a:cs typeface="+mn-cs"/>
              </a:rPr>
              <a:t>Deloitte </a:t>
            </a:r>
            <a:r>
              <a:rPr lang="en-US" altLang="zh-TW" sz="800" kern="1200" dirty="0" err="1">
                <a:solidFill>
                  <a:schemeClr val="bg1"/>
                </a:solidFill>
                <a:effectLst/>
                <a:latin typeface="+mn-lt"/>
                <a:ea typeface="+mn-ea"/>
                <a:cs typeface="+mn-cs"/>
              </a:rPr>
              <a:t>Touche</a:t>
            </a:r>
            <a:r>
              <a:rPr lang="en-US" altLang="zh-TW" sz="800" kern="1200" dirty="0">
                <a:solidFill>
                  <a:schemeClr val="bg1"/>
                </a:solidFill>
                <a:effectLst/>
                <a:latin typeface="+mn-lt"/>
                <a:ea typeface="+mn-ea"/>
                <a:cs typeface="+mn-cs"/>
              </a:rPr>
              <a:t> Tohmatsu Limited</a:t>
            </a:r>
            <a:r>
              <a:rPr lang="zh-TW" altLang="zh-TW" sz="800" kern="1200" dirty="0">
                <a:solidFill>
                  <a:schemeClr val="bg1"/>
                </a:solidFill>
                <a:effectLst/>
                <a:latin typeface="+mn-lt"/>
                <a:ea typeface="+mn-ea"/>
                <a:cs typeface="+mn-cs"/>
              </a:rPr>
              <a:t>（簡稱</a:t>
            </a:r>
            <a:r>
              <a:rPr lang="en-US" altLang="zh-TW" sz="800" kern="1200" dirty="0">
                <a:solidFill>
                  <a:schemeClr val="bg1"/>
                </a:solidFill>
                <a:effectLst/>
                <a:latin typeface="+mn-lt"/>
                <a:ea typeface="+mn-ea"/>
                <a:cs typeface="+mn-cs"/>
              </a:rPr>
              <a:t>“DTTL”</a:t>
            </a:r>
            <a:r>
              <a:rPr lang="zh-TW" altLang="zh-TW" sz="800" kern="1200" dirty="0">
                <a:solidFill>
                  <a:schemeClr val="bg1"/>
                </a:solidFill>
                <a:effectLst/>
                <a:latin typeface="+mn-lt"/>
                <a:ea typeface="+mn-ea"/>
                <a:cs typeface="+mn-cs"/>
              </a:rPr>
              <a:t>）、其會員所或其相關實體的全球網路（統稱為</a:t>
            </a:r>
            <a:r>
              <a:rPr lang="en-US" altLang="zh-TW" sz="800" kern="1200" dirty="0">
                <a:solidFill>
                  <a:schemeClr val="bg1"/>
                </a:solidFill>
                <a:effectLst/>
                <a:latin typeface="+mn-lt"/>
                <a:ea typeface="+mn-ea"/>
                <a:cs typeface="+mn-cs"/>
              </a:rPr>
              <a:t>“Deloitte</a:t>
            </a:r>
            <a:r>
              <a:rPr lang="zh-TW" altLang="zh-TW" sz="800" kern="1200" dirty="0">
                <a:solidFill>
                  <a:schemeClr val="bg1"/>
                </a:solidFill>
                <a:effectLst/>
                <a:latin typeface="+mn-lt"/>
                <a:ea typeface="+mn-ea"/>
                <a:cs typeface="+mn-cs"/>
              </a:rPr>
              <a:t>組織</a:t>
            </a:r>
            <a:r>
              <a:rPr lang="en-US" altLang="zh-TW" sz="800" kern="1200" dirty="0">
                <a:solidFill>
                  <a:schemeClr val="bg1"/>
                </a:solidFill>
                <a:effectLst/>
                <a:latin typeface="+mn-lt"/>
                <a:ea typeface="+mn-ea"/>
                <a:cs typeface="+mn-cs"/>
              </a:rPr>
              <a:t>”</a:t>
            </a:r>
            <a:r>
              <a:rPr lang="zh-TW" altLang="zh-TW" sz="800" kern="1200" dirty="0">
                <a:solidFill>
                  <a:schemeClr val="bg1"/>
                </a:solidFill>
                <a:effectLst/>
                <a:latin typeface="+mn-lt"/>
                <a:ea typeface="+mn-ea"/>
                <a:cs typeface="+mn-cs"/>
              </a:rPr>
              <a:t>）均不透過本出版物提供專業建議或服務。 在做出任何決定或採取任何可能影響企業財務或企業本身的行動之前，請先諮詢合格的專業顧問。</a:t>
            </a:r>
          </a:p>
          <a:p>
            <a:r>
              <a:rPr lang="en-US" altLang="zh-TW" sz="800" kern="1200" dirty="0">
                <a:solidFill>
                  <a:schemeClr val="bg1"/>
                </a:solidFill>
                <a:effectLst/>
                <a:latin typeface="+mn-lt"/>
                <a:ea typeface="+mn-ea"/>
                <a:cs typeface="+mn-cs"/>
              </a:rPr>
              <a:t> </a:t>
            </a:r>
            <a:endParaRPr lang="zh-TW" altLang="zh-TW" sz="800" kern="1200" dirty="0">
              <a:solidFill>
                <a:schemeClr val="bg1"/>
              </a:solidFill>
              <a:effectLst/>
              <a:latin typeface="+mn-lt"/>
              <a:ea typeface="+mn-ea"/>
              <a:cs typeface="+mn-cs"/>
            </a:endParaRPr>
          </a:p>
          <a:p>
            <a:r>
              <a:rPr lang="zh-TW" altLang="zh-TW" sz="800" kern="1200" dirty="0">
                <a:solidFill>
                  <a:schemeClr val="bg1"/>
                </a:solidFill>
                <a:effectLst/>
                <a:latin typeface="+mn-lt"/>
                <a:ea typeface="+mn-ea"/>
                <a:cs typeface="+mn-cs"/>
              </a:rPr>
              <a:t>對於本出版物中資料之準確性或完整性，不作任何陳述、保證或承諾（明示或暗示），</a:t>
            </a:r>
            <a:r>
              <a:rPr lang="en-US" altLang="zh-TW" sz="800" kern="1200" dirty="0">
                <a:solidFill>
                  <a:schemeClr val="bg1"/>
                </a:solidFill>
                <a:effectLst/>
                <a:latin typeface="+mn-lt"/>
                <a:ea typeface="+mn-ea"/>
                <a:cs typeface="+mn-cs"/>
              </a:rPr>
              <a:t>DTTL</a:t>
            </a:r>
            <a:r>
              <a:rPr lang="zh-TW" altLang="zh-TW" sz="800" kern="1200" dirty="0">
                <a:solidFill>
                  <a:schemeClr val="bg1"/>
                </a:solidFill>
                <a:effectLst/>
                <a:latin typeface="+mn-lt"/>
                <a:ea typeface="+mn-ea"/>
                <a:cs typeface="+mn-cs"/>
              </a:rPr>
              <a:t>、其會員所、相關實體、僱員或代理人均不對與依賴本出版物的任何人直接或間接引起的任何損失或損害負責。</a:t>
            </a:r>
            <a:r>
              <a:rPr lang="en-US" altLang="zh-TW" sz="800" kern="1200" dirty="0">
                <a:solidFill>
                  <a:schemeClr val="bg1"/>
                </a:solidFill>
                <a:effectLst/>
                <a:latin typeface="+mn-lt"/>
                <a:ea typeface="+mn-ea"/>
                <a:cs typeface="+mn-cs"/>
              </a:rPr>
              <a:t> DTTL</a:t>
            </a:r>
            <a:r>
              <a:rPr lang="zh-TW" altLang="zh-TW" sz="800" kern="1200" dirty="0">
                <a:solidFill>
                  <a:schemeClr val="bg1"/>
                </a:solidFill>
                <a:effectLst/>
                <a:latin typeface="+mn-lt"/>
                <a:ea typeface="+mn-ea"/>
                <a:cs typeface="+mn-cs"/>
              </a:rPr>
              <a:t>及其每個成員公司及其相關實體在法律上是獨立的實體。</a:t>
            </a:r>
          </a:p>
          <a:p>
            <a:r>
              <a:rPr lang="en-US" altLang="zh-TW" sz="800" kern="1200" dirty="0">
                <a:solidFill>
                  <a:schemeClr val="bg1"/>
                </a:solidFill>
                <a:effectLst/>
                <a:latin typeface="+mn-lt"/>
                <a:ea typeface="+mn-ea"/>
                <a:cs typeface="+mn-cs"/>
              </a:rPr>
              <a:t> </a:t>
            </a:r>
            <a:endParaRPr lang="zh-TW" altLang="zh-TW" sz="800" kern="1200" dirty="0">
              <a:solidFill>
                <a:schemeClr val="bg1"/>
              </a:solidFill>
              <a:effectLst/>
              <a:latin typeface="+mn-lt"/>
              <a:ea typeface="+mn-ea"/>
              <a:cs typeface="+mn-cs"/>
            </a:endParaRPr>
          </a:p>
          <a:p>
            <a:r>
              <a:rPr lang="en-US" altLang="zh-TW" sz="800" kern="1200" dirty="0">
                <a:solidFill>
                  <a:schemeClr val="bg1"/>
                </a:solidFill>
                <a:effectLst/>
                <a:latin typeface="+mn-lt"/>
                <a:ea typeface="+mn-ea"/>
                <a:cs typeface="+mn-cs"/>
              </a:rPr>
              <a:t>© 2022 </a:t>
            </a:r>
            <a:r>
              <a:rPr lang="zh-TW" altLang="zh-TW" sz="800" kern="1200" dirty="0">
                <a:solidFill>
                  <a:schemeClr val="bg1"/>
                </a:solidFill>
                <a:effectLst/>
                <a:latin typeface="+mn-lt"/>
                <a:ea typeface="+mn-ea"/>
                <a:cs typeface="+mn-cs"/>
              </a:rPr>
              <a:t>勤業眾信版權所有 保留一切權利</a:t>
            </a:r>
          </a:p>
        </p:txBody>
      </p:sp>
    </p:spTree>
    <p:extLst>
      <p:ext uri="{BB962C8B-B14F-4D97-AF65-F5344CB8AC3E}">
        <p14:creationId xmlns:p14="http://schemas.microsoft.com/office/powerpoint/2010/main" val="12241216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封底_english_法律聲明">
    <p:spTree>
      <p:nvGrpSpPr>
        <p:cNvPr id="1" name=""/>
        <p:cNvGrpSpPr/>
        <p:nvPr/>
      </p:nvGrpSpPr>
      <p:grpSpPr>
        <a:xfrm>
          <a:off x="0" y="0"/>
          <a:ext cx="0" cy="0"/>
          <a:chOff x="0" y="0"/>
          <a:chExt cx="0" cy="0"/>
        </a:xfrm>
      </p:grpSpPr>
      <p:sp>
        <p:nvSpPr>
          <p:cNvPr id="6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6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60" name="群組 59"/>
          <p:cNvGrpSpPr/>
          <p:nvPr userDrawn="1"/>
        </p:nvGrpSpPr>
        <p:grpSpPr>
          <a:xfrm>
            <a:off x="475329" y="451571"/>
            <a:ext cx="1624863" cy="303614"/>
            <a:chOff x="475329" y="451571"/>
            <a:chExt cx="1624863" cy="303614"/>
          </a:xfrm>
        </p:grpSpPr>
        <p:sp>
          <p:nvSpPr>
            <p:cNvPr id="61" name="Freeform 36"/>
            <p:cNvSpPr>
              <a:spLocks/>
            </p:cNvSpPr>
            <p:nvPr/>
          </p:nvSpPr>
          <p:spPr bwMode="auto">
            <a:xfrm>
              <a:off x="2015130" y="668261"/>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1" name="Freeform 38"/>
            <p:cNvSpPr>
              <a:spLocks noEditPoints="1"/>
            </p:cNvSpPr>
            <p:nvPr/>
          </p:nvSpPr>
          <p:spPr bwMode="auto">
            <a:xfrm>
              <a:off x="475329" y="452813"/>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2" name="Rectangle 41"/>
            <p:cNvSpPr>
              <a:spLocks noChangeArrowheads="1"/>
            </p:cNvSpPr>
            <p:nvPr/>
          </p:nvSpPr>
          <p:spPr bwMode="auto">
            <a:xfrm>
              <a:off x="982594" y="451571"/>
              <a:ext cx="75127" cy="29864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73" name="Freeform 42"/>
            <p:cNvSpPr>
              <a:spLocks noEditPoints="1"/>
            </p:cNvSpPr>
            <p:nvPr/>
          </p:nvSpPr>
          <p:spPr bwMode="auto">
            <a:xfrm>
              <a:off x="1086903" y="524215"/>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4" name="Rectangle 45"/>
            <p:cNvSpPr>
              <a:spLocks noChangeArrowheads="1"/>
            </p:cNvSpPr>
            <p:nvPr/>
          </p:nvSpPr>
          <p:spPr bwMode="auto">
            <a:xfrm>
              <a:off x="1332775" y="527940"/>
              <a:ext cx="75127" cy="22227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75" name="Rectangle 46"/>
            <p:cNvSpPr>
              <a:spLocks noChangeArrowheads="1"/>
            </p:cNvSpPr>
            <p:nvPr/>
          </p:nvSpPr>
          <p:spPr bwMode="auto">
            <a:xfrm>
              <a:off x="1332775" y="451571"/>
              <a:ext cx="75127" cy="49671"/>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76" name="Freeform 47"/>
            <p:cNvSpPr>
              <a:spLocks/>
            </p:cNvSpPr>
            <p:nvPr/>
          </p:nvSpPr>
          <p:spPr bwMode="auto">
            <a:xfrm>
              <a:off x="1437705" y="458401"/>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7" name="Freeform 49"/>
            <p:cNvSpPr>
              <a:spLocks/>
            </p:cNvSpPr>
            <p:nvPr/>
          </p:nvSpPr>
          <p:spPr bwMode="auto">
            <a:xfrm>
              <a:off x="1610933" y="458401"/>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8" name="Freeform 51"/>
            <p:cNvSpPr>
              <a:spLocks noEditPoints="1"/>
            </p:cNvSpPr>
            <p:nvPr/>
          </p:nvSpPr>
          <p:spPr bwMode="auto">
            <a:xfrm>
              <a:off x="1786023" y="524215"/>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9" name="Freeform 54"/>
            <p:cNvSpPr>
              <a:spLocks noEditPoints="1"/>
            </p:cNvSpPr>
            <p:nvPr/>
          </p:nvSpPr>
          <p:spPr bwMode="auto">
            <a:xfrm>
              <a:off x="744173" y="524215"/>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80" name="群組 79"/>
          <p:cNvGrpSpPr/>
          <p:nvPr userDrawn="1"/>
        </p:nvGrpSpPr>
        <p:grpSpPr>
          <a:xfrm>
            <a:off x="10444934" y="451571"/>
            <a:ext cx="1277166" cy="298647"/>
            <a:chOff x="463716" y="867128"/>
            <a:chExt cx="1277166" cy="298647"/>
          </a:xfrm>
          <a:solidFill>
            <a:schemeClr val="tx1"/>
          </a:solidFill>
        </p:grpSpPr>
        <p:sp>
          <p:nvSpPr>
            <p:cNvPr id="81"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82"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3"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4"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5"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6"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7"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8"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9"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0"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1"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pic>
        <p:nvPicPr>
          <p:cNvPr id="40" name="Picture 2" descr="C:\Users\molin\Desktop\generator.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49327" y="5658648"/>
            <a:ext cx="712216" cy="712216"/>
          </a:xfrm>
          <a:prstGeom prst="rect">
            <a:avLst/>
          </a:prstGeom>
          <a:noFill/>
          <a:extLst>
            <a:ext uri="{909E8E84-426E-40DD-AFC4-6F175D3DCCD1}">
              <a14:hiddenFill xmlns:a14="http://schemas.microsoft.com/office/drawing/2010/main">
                <a:solidFill>
                  <a:srgbClr val="FFFFFF"/>
                </a:solidFill>
              </a14:hiddenFill>
            </a:ext>
          </a:extLst>
        </p:spPr>
      </p:pic>
      <p:sp>
        <p:nvSpPr>
          <p:cNvPr id="36" name="文字方塊 35"/>
          <p:cNvSpPr txBox="1"/>
          <p:nvPr userDrawn="1"/>
        </p:nvSpPr>
        <p:spPr>
          <a:xfrm>
            <a:off x="462471" y="3785541"/>
            <a:ext cx="6147879" cy="2585323"/>
          </a:xfrm>
          <a:prstGeom prst="rect">
            <a:avLst/>
          </a:prstGeom>
          <a:noFill/>
        </p:spPr>
        <p:txBody>
          <a:bodyPr wrap="square" lIns="0" tIns="0" rIns="0" bIns="0" rtlCol="0">
            <a:spAutoFit/>
          </a:bodyPr>
          <a:lstStyle/>
          <a:p>
            <a:r>
              <a:rPr lang="en-US" altLang="zh-TW" sz="800" kern="1200" dirty="0">
                <a:solidFill>
                  <a:schemeClr val="tx1"/>
                </a:solidFill>
                <a:effectLst/>
                <a:latin typeface="+mn-lt"/>
                <a:ea typeface="+mn-ea"/>
                <a:cs typeface="+mn-cs"/>
              </a:rPr>
              <a:t>Deloitte refers to one or more of Deloitte </a:t>
            </a:r>
            <a:r>
              <a:rPr lang="en-US" altLang="zh-TW" sz="800" kern="1200" dirty="0" err="1">
                <a:solidFill>
                  <a:schemeClr val="tx1"/>
                </a:solidFill>
                <a:effectLst/>
                <a:latin typeface="+mn-lt"/>
                <a:ea typeface="+mn-ea"/>
                <a:cs typeface="+mn-cs"/>
              </a:rPr>
              <a:t>Touche</a:t>
            </a:r>
            <a:r>
              <a:rPr lang="en-US" altLang="zh-TW" sz="800" kern="1200" dirty="0">
                <a:solidFill>
                  <a:schemeClr val="tx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altLang="zh-TW" sz="800" u="sng" kern="1200" dirty="0">
                <a:solidFill>
                  <a:schemeClr val="tx1"/>
                </a:solidFill>
                <a:effectLst/>
                <a:latin typeface="+mn-lt"/>
                <a:ea typeface="+mn-ea"/>
                <a:cs typeface="+mn-cs"/>
                <a:hlinkClick r:id="rId3"/>
              </a:rPr>
              <a:t>www.deloitte.com/about</a:t>
            </a:r>
            <a:r>
              <a:rPr lang="en-US" altLang="zh-TW" sz="800" kern="1200" dirty="0">
                <a:solidFill>
                  <a:schemeClr val="tx1"/>
                </a:solidFill>
                <a:effectLst/>
                <a:latin typeface="+mn-lt"/>
                <a:ea typeface="+mn-ea"/>
                <a:cs typeface="+mn-cs"/>
              </a:rPr>
              <a:t> to learn more.</a:t>
            </a:r>
            <a:endParaRPr lang="zh-TW" altLang="zh-TW" sz="800" kern="1200" dirty="0">
              <a:solidFill>
                <a:schemeClr val="tx1"/>
              </a:solidFill>
              <a:effectLst/>
              <a:latin typeface="+mn-lt"/>
              <a:ea typeface="+mn-ea"/>
              <a:cs typeface="+mn-cs"/>
            </a:endParaRPr>
          </a:p>
          <a:p>
            <a:r>
              <a:rPr lang="en-GB" altLang="zh-TW" sz="800" kern="1200" dirty="0">
                <a:solidFill>
                  <a:schemeClr val="tx1"/>
                </a:solidFill>
                <a:effectLst/>
                <a:latin typeface="+mn-lt"/>
                <a:ea typeface="+mn-ea"/>
                <a:cs typeface="+mn-cs"/>
              </a:rPr>
              <a:t> </a:t>
            </a:r>
            <a:endParaRPr lang="zh-TW" altLang="zh-TW" sz="800" kern="1200" dirty="0">
              <a:solidFill>
                <a:schemeClr val="tx1"/>
              </a:solidFill>
              <a:effectLst/>
              <a:latin typeface="+mn-lt"/>
              <a:ea typeface="+mn-ea"/>
              <a:cs typeface="+mn-cs"/>
            </a:endParaRPr>
          </a:p>
          <a:p>
            <a:r>
              <a:rPr lang="en-US" altLang="zh-TW" sz="800" kern="1200" dirty="0">
                <a:solidFill>
                  <a:schemeClr val="tx1"/>
                </a:solidFill>
                <a:effectLst/>
                <a:latin typeface="+mn-lt"/>
                <a:ea typeface="+mn-ea"/>
                <a:cs typeface="+mn-cs"/>
              </a:rPr>
              <a:t>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a:t>
            </a:r>
            <a:endParaRPr lang="zh-TW" altLang="zh-TW" sz="800" kern="1200" dirty="0">
              <a:solidFill>
                <a:schemeClr val="tx1"/>
              </a:solidFill>
              <a:effectLst/>
              <a:latin typeface="+mn-lt"/>
              <a:ea typeface="+mn-ea"/>
              <a:cs typeface="+mn-cs"/>
            </a:endParaRPr>
          </a:p>
          <a:p>
            <a:r>
              <a:rPr lang="en-US" altLang="zh-TW" sz="800" kern="1200" dirty="0">
                <a:solidFill>
                  <a:schemeClr val="tx1"/>
                </a:solidFill>
                <a:effectLst/>
                <a:latin typeface="+mn-lt"/>
                <a:ea typeface="+mn-ea"/>
                <a:cs typeface="+mn-cs"/>
              </a:rPr>
              <a:t> </a:t>
            </a:r>
            <a:endParaRPr lang="zh-TW" altLang="zh-TW" sz="800" kern="1200" dirty="0">
              <a:solidFill>
                <a:schemeClr val="tx1"/>
              </a:solidFill>
              <a:effectLst/>
              <a:latin typeface="+mn-lt"/>
              <a:ea typeface="+mn-ea"/>
              <a:cs typeface="+mn-cs"/>
            </a:endParaRPr>
          </a:p>
          <a:p>
            <a:r>
              <a:rPr lang="en-US" altLang="zh-TW" sz="800" kern="1200" dirty="0">
                <a:solidFill>
                  <a:schemeClr val="tx1"/>
                </a:solidFill>
                <a:effectLst/>
                <a:latin typeface="+mn-lt"/>
                <a:ea typeface="+mn-ea"/>
                <a:cs typeface="+mn-cs"/>
              </a:rPr>
              <a:t>This communication contains general information only, and none of Deloitte </a:t>
            </a:r>
            <a:r>
              <a:rPr lang="en-US" altLang="zh-TW" sz="800" kern="1200" dirty="0" err="1">
                <a:solidFill>
                  <a:schemeClr val="tx1"/>
                </a:solidFill>
                <a:effectLst/>
                <a:latin typeface="+mn-lt"/>
                <a:ea typeface="+mn-ea"/>
                <a:cs typeface="+mn-cs"/>
              </a:rPr>
              <a:t>Touche</a:t>
            </a:r>
            <a:r>
              <a:rPr lang="en-US" altLang="zh-TW" sz="800" kern="1200" dirty="0">
                <a:solidFill>
                  <a:schemeClr val="tx1"/>
                </a:solidFill>
                <a:effectLst/>
                <a:latin typeface="+mn-lt"/>
                <a:ea typeface="+mn-ea"/>
                <a:cs typeface="+mn-cs"/>
              </a:rPr>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a:t>
            </a:r>
            <a:endParaRPr lang="zh-TW" altLang="zh-TW" sz="800" kern="1200" dirty="0">
              <a:solidFill>
                <a:schemeClr val="tx1"/>
              </a:solidFill>
              <a:effectLst/>
              <a:latin typeface="+mn-lt"/>
              <a:ea typeface="+mn-ea"/>
              <a:cs typeface="+mn-cs"/>
            </a:endParaRPr>
          </a:p>
          <a:p>
            <a:r>
              <a:rPr lang="en-US" altLang="zh-TW" sz="800" kern="1200" dirty="0">
                <a:solidFill>
                  <a:schemeClr val="tx1"/>
                </a:solidFill>
                <a:effectLst/>
                <a:latin typeface="+mn-lt"/>
                <a:ea typeface="+mn-ea"/>
                <a:cs typeface="+mn-cs"/>
              </a:rPr>
              <a:t> </a:t>
            </a:r>
            <a:endParaRPr lang="zh-TW" altLang="zh-TW" sz="800" kern="1200" dirty="0">
              <a:solidFill>
                <a:schemeClr val="tx1"/>
              </a:solidFill>
              <a:effectLst/>
              <a:latin typeface="+mn-lt"/>
              <a:ea typeface="+mn-ea"/>
              <a:cs typeface="+mn-cs"/>
            </a:endParaRPr>
          </a:p>
          <a:p>
            <a:r>
              <a:rPr lang="en-US" altLang="zh-TW" sz="800" kern="1200" dirty="0">
                <a:solidFill>
                  <a:schemeClr val="tx1"/>
                </a:solidFill>
                <a:effectLst/>
                <a:latin typeface="+mn-lt"/>
                <a:ea typeface="+mn-ea"/>
                <a:cs typeface="+mn-cs"/>
              </a:rPr>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endParaRPr lang="zh-TW" altLang="zh-TW" sz="800" kern="1200" dirty="0">
              <a:solidFill>
                <a:schemeClr val="tx1"/>
              </a:solidFill>
              <a:effectLst/>
              <a:latin typeface="+mn-lt"/>
              <a:ea typeface="+mn-ea"/>
              <a:cs typeface="+mn-cs"/>
            </a:endParaRPr>
          </a:p>
          <a:p>
            <a:r>
              <a:rPr lang="en-US" altLang="zh-TW" sz="800" kern="1200" dirty="0">
                <a:solidFill>
                  <a:schemeClr val="tx1"/>
                </a:solidFill>
                <a:effectLst/>
                <a:latin typeface="+mn-lt"/>
                <a:ea typeface="+mn-ea"/>
                <a:cs typeface="+mn-cs"/>
              </a:rPr>
              <a:t> </a:t>
            </a:r>
            <a:endParaRPr lang="zh-TW" altLang="zh-TW" sz="800" kern="1200" dirty="0">
              <a:solidFill>
                <a:schemeClr val="tx1"/>
              </a:solidFill>
              <a:effectLst/>
              <a:latin typeface="+mn-lt"/>
              <a:ea typeface="+mn-ea"/>
              <a:cs typeface="+mn-cs"/>
            </a:endParaRPr>
          </a:p>
          <a:p>
            <a:r>
              <a:rPr lang="en-US" altLang="zh-TW" sz="800" kern="1200" dirty="0">
                <a:solidFill>
                  <a:schemeClr val="tx1"/>
                </a:solidFill>
                <a:effectLst/>
                <a:latin typeface="+mn-lt"/>
                <a:ea typeface="+mn-ea"/>
                <a:cs typeface="+mn-cs"/>
              </a:rPr>
              <a:t>© 2022 Deloitte Asia Pacific Services Limited.</a:t>
            </a:r>
            <a:endParaRPr lang="zh-TW" altLang="zh-TW" sz="8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2504403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封底_english_法律聲明">
    <p:bg>
      <p:bgPr>
        <a:solidFill>
          <a:schemeClr val="tx1"/>
        </a:solidFill>
        <a:effectLst/>
      </p:bgPr>
    </p:bg>
    <p:spTree>
      <p:nvGrpSpPr>
        <p:cNvPr id="1" name=""/>
        <p:cNvGrpSpPr/>
        <p:nvPr/>
      </p:nvGrpSpPr>
      <p:grpSpPr>
        <a:xfrm>
          <a:off x="0" y="0"/>
          <a:ext cx="0" cy="0"/>
          <a:chOff x="0" y="0"/>
          <a:chExt cx="0" cy="0"/>
        </a:xfrm>
      </p:grpSpPr>
      <p:sp>
        <p:nvSpPr>
          <p:cNvPr id="6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6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pic>
        <p:nvPicPr>
          <p:cNvPr id="40" name="Picture 2" descr="C:\Users\molin\Desktop\generator.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49327" y="5658648"/>
            <a:ext cx="712216" cy="712216"/>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群組 35"/>
          <p:cNvGrpSpPr/>
          <p:nvPr userDrawn="1"/>
        </p:nvGrpSpPr>
        <p:grpSpPr>
          <a:xfrm>
            <a:off x="10444934" y="451571"/>
            <a:ext cx="1277166" cy="298647"/>
            <a:chOff x="463716" y="867128"/>
            <a:chExt cx="1277166" cy="298647"/>
          </a:xfrm>
        </p:grpSpPr>
        <p:sp>
          <p:nvSpPr>
            <p:cNvPr id="37"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38"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50" name="群組 49"/>
          <p:cNvGrpSpPr/>
          <p:nvPr userDrawn="1"/>
        </p:nvGrpSpPr>
        <p:grpSpPr>
          <a:xfrm>
            <a:off x="462474" y="460447"/>
            <a:ext cx="1624863" cy="303614"/>
            <a:chOff x="462474" y="460447"/>
            <a:chExt cx="1624863" cy="303614"/>
          </a:xfrm>
        </p:grpSpPr>
        <p:sp>
          <p:nvSpPr>
            <p:cNvPr id="51" name="Freeform 36"/>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2" name="Freeform 38"/>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3" name="Rectangle 41"/>
            <p:cNvSpPr>
              <a:spLocks noChangeArrowheads="1"/>
            </p:cNvSpPr>
            <p:nvPr/>
          </p:nvSpPr>
          <p:spPr bwMode="auto">
            <a:xfrm>
              <a:off x="969739" y="460447"/>
              <a:ext cx="75127" cy="29864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4" name="Freeform 42"/>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5" name="Rectangle 45"/>
            <p:cNvSpPr>
              <a:spLocks noChangeArrowheads="1"/>
            </p:cNvSpPr>
            <p:nvPr/>
          </p:nvSpPr>
          <p:spPr bwMode="auto">
            <a:xfrm>
              <a:off x="1319920" y="536816"/>
              <a:ext cx="75127" cy="22227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6" name="Rectangle 46"/>
            <p:cNvSpPr>
              <a:spLocks noChangeArrowheads="1"/>
            </p:cNvSpPr>
            <p:nvPr/>
          </p:nvSpPr>
          <p:spPr bwMode="auto">
            <a:xfrm>
              <a:off x="1319920" y="460447"/>
              <a:ext cx="75127" cy="49671"/>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7" name="Freeform 47"/>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8" name="Freeform 49"/>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9" name="Freeform 51"/>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2" name="Freeform 54"/>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39" name="文字方塊 38"/>
          <p:cNvSpPr txBox="1"/>
          <p:nvPr userDrawn="1"/>
        </p:nvSpPr>
        <p:spPr>
          <a:xfrm>
            <a:off x="462471" y="3785541"/>
            <a:ext cx="6147879" cy="2585323"/>
          </a:xfrm>
          <a:prstGeom prst="rect">
            <a:avLst/>
          </a:prstGeom>
          <a:noFill/>
        </p:spPr>
        <p:txBody>
          <a:bodyPr wrap="square" lIns="0" tIns="0" rIns="0" bIns="0" rtlCol="0">
            <a:spAutoFit/>
          </a:bodyPr>
          <a:lstStyle/>
          <a:p>
            <a:r>
              <a:rPr lang="en-US" altLang="zh-TW" sz="800" kern="1200" dirty="0">
                <a:solidFill>
                  <a:schemeClr val="bg1"/>
                </a:solidFill>
                <a:effectLst/>
                <a:latin typeface="+mn-lt"/>
                <a:ea typeface="+mn-ea"/>
                <a:cs typeface="+mn-cs"/>
              </a:rPr>
              <a:t>Deloitte refers to one or more of Deloitte </a:t>
            </a:r>
            <a:r>
              <a:rPr lang="en-US" altLang="zh-TW" sz="800" kern="1200" dirty="0" err="1">
                <a:solidFill>
                  <a:schemeClr val="bg1"/>
                </a:solidFill>
                <a:effectLst/>
                <a:latin typeface="+mn-lt"/>
                <a:ea typeface="+mn-ea"/>
                <a:cs typeface="+mn-cs"/>
              </a:rPr>
              <a:t>Touche</a:t>
            </a:r>
            <a:r>
              <a:rPr lang="en-US" altLang="zh-TW" sz="800" kern="1200" dirty="0">
                <a:solidFill>
                  <a:schemeClr val="bg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altLang="zh-TW" sz="800" u="sng" kern="1200" dirty="0">
                <a:solidFill>
                  <a:schemeClr val="bg1"/>
                </a:solidFill>
                <a:effectLst/>
                <a:latin typeface="+mn-lt"/>
                <a:ea typeface="+mn-ea"/>
                <a:cs typeface="+mn-cs"/>
                <a:hlinkClick r:id="rId3"/>
              </a:rPr>
              <a:t>www.deloitte.com/about</a:t>
            </a:r>
            <a:r>
              <a:rPr lang="en-US" altLang="zh-TW" sz="800" kern="1200" dirty="0">
                <a:solidFill>
                  <a:schemeClr val="bg1"/>
                </a:solidFill>
                <a:effectLst/>
                <a:latin typeface="+mn-lt"/>
                <a:ea typeface="+mn-ea"/>
                <a:cs typeface="+mn-cs"/>
              </a:rPr>
              <a:t> to learn more.</a:t>
            </a:r>
            <a:endParaRPr lang="zh-TW" altLang="zh-TW" sz="800" kern="1200" dirty="0">
              <a:solidFill>
                <a:schemeClr val="bg1"/>
              </a:solidFill>
              <a:effectLst/>
              <a:latin typeface="+mn-lt"/>
              <a:ea typeface="+mn-ea"/>
              <a:cs typeface="+mn-cs"/>
            </a:endParaRPr>
          </a:p>
          <a:p>
            <a:r>
              <a:rPr lang="en-GB" altLang="zh-TW" sz="800" kern="1200" dirty="0">
                <a:solidFill>
                  <a:schemeClr val="bg1"/>
                </a:solidFill>
                <a:effectLst/>
                <a:latin typeface="+mn-lt"/>
                <a:ea typeface="+mn-ea"/>
                <a:cs typeface="+mn-cs"/>
              </a:rPr>
              <a:t> </a:t>
            </a:r>
            <a:endParaRPr lang="zh-TW" altLang="zh-TW" sz="800" kern="1200" dirty="0">
              <a:solidFill>
                <a:schemeClr val="bg1"/>
              </a:solidFill>
              <a:effectLst/>
              <a:latin typeface="+mn-lt"/>
              <a:ea typeface="+mn-ea"/>
              <a:cs typeface="+mn-cs"/>
            </a:endParaRPr>
          </a:p>
          <a:p>
            <a:r>
              <a:rPr lang="en-US" altLang="zh-TW" sz="800" kern="1200" dirty="0">
                <a:solidFill>
                  <a:schemeClr val="bg1"/>
                </a:solidFill>
                <a:effectLst/>
                <a:latin typeface="+mn-lt"/>
                <a:ea typeface="+mn-ea"/>
                <a:cs typeface="+mn-cs"/>
              </a:rPr>
              <a:t>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a:t>
            </a:r>
            <a:endParaRPr lang="zh-TW" altLang="zh-TW" sz="800" kern="1200" dirty="0">
              <a:solidFill>
                <a:schemeClr val="bg1"/>
              </a:solidFill>
              <a:effectLst/>
              <a:latin typeface="+mn-lt"/>
              <a:ea typeface="+mn-ea"/>
              <a:cs typeface="+mn-cs"/>
            </a:endParaRPr>
          </a:p>
          <a:p>
            <a:r>
              <a:rPr lang="en-US" altLang="zh-TW" sz="800" kern="1200" dirty="0">
                <a:solidFill>
                  <a:schemeClr val="bg1"/>
                </a:solidFill>
                <a:effectLst/>
                <a:latin typeface="+mn-lt"/>
                <a:ea typeface="+mn-ea"/>
                <a:cs typeface="+mn-cs"/>
              </a:rPr>
              <a:t> </a:t>
            </a:r>
            <a:endParaRPr lang="zh-TW" altLang="zh-TW" sz="800" kern="1200" dirty="0">
              <a:solidFill>
                <a:schemeClr val="bg1"/>
              </a:solidFill>
              <a:effectLst/>
              <a:latin typeface="+mn-lt"/>
              <a:ea typeface="+mn-ea"/>
              <a:cs typeface="+mn-cs"/>
            </a:endParaRPr>
          </a:p>
          <a:p>
            <a:r>
              <a:rPr lang="en-US" altLang="zh-TW" sz="800" kern="1200" dirty="0">
                <a:solidFill>
                  <a:schemeClr val="bg1"/>
                </a:solidFill>
                <a:effectLst/>
                <a:latin typeface="+mn-lt"/>
                <a:ea typeface="+mn-ea"/>
                <a:cs typeface="+mn-cs"/>
              </a:rPr>
              <a:t>This communication contains general information only, and none of Deloitte </a:t>
            </a:r>
            <a:r>
              <a:rPr lang="en-US" altLang="zh-TW" sz="800" kern="1200" dirty="0" err="1">
                <a:solidFill>
                  <a:schemeClr val="bg1"/>
                </a:solidFill>
                <a:effectLst/>
                <a:latin typeface="+mn-lt"/>
                <a:ea typeface="+mn-ea"/>
                <a:cs typeface="+mn-cs"/>
              </a:rPr>
              <a:t>Touche</a:t>
            </a:r>
            <a:r>
              <a:rPr lang="en-US" altLang="zh-TW" sz="800" kern="1200" dirty="0">
                <a:solidFill>
                  <a:schemeClr val="bg1"/>
                </a:solidFill>
                <a:effectLst/>
                <a:latin typeface="+mn-lt"/>
                <a:ea typeface="+mn-ea"/>
                <a:cs typeface="+mn-cs"/>
              </a:rPr>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a:t>
            </a:r>
            <a:endParaRPr lang="zh-TW" altLang="zh-TW" sz="800" kern="1200" dirty="0">
              <a:solidFill>
                <a:schemeClr val="bg1"/>
              </a:solidFill>
              <a:effectLst/>
              <a:latin typeface="+mn-lt"/>
              <a:ea typeface="+mn-ea"/>
              <a:cs typeface="+mn-cs"/>
            </a:endParaRPr>
          </a:p>
          <a:p>
            <a:r>
              <a:rPr lang="en-US" altLang="zh-TW" sz="800" kern="1200" dirty="0">
                <a:solidFill>
                  <a:schemeClr val="bg1"/>
                </a:solidFill>
                <a:effectLst/>
                <a:latin typeface="+mn-lt"/>
                <a:ea typeface="+mn-ea"/>
                <a:cs typeface="+mn-cs"/>
              </a:rPr>
              <a:t> </a:t>
            </a:r>
            <a:endParaRPr lang="zh-TW" altLang="zh-TW" sz="800" kern="1200" dirty="0">
              <a:solidFill>
                <a:schemeClr val="bg1"/>
              </a:solidFill>
              <a:effectLst/>
              <a:latin typeface="+mn-lt"/>
              <a:ea typeface="+mn-ea"/>
              <a:cs typeface="+mn-cs"/>
            </a:endParaRPr>
          </a:p>
          <a:p>
            <a:r>
              <a:rPr lang="en-US" altLang="zh-TW" sz="800" kern="1200" dirty="0">
                <a:solidFill>
                  <a:schemeClr val="bg1"/>
                </a:solidFill>
                <a:effectLst/>
                <a:latin typeface="+mn-lt"/>
                <a:ea typeface="+mn-ea"/>
                <a:cs typeface="+mn-cs"/>
              </a:rPr>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endParaRPr lang="zh-TW" altLang="zh-TW" sz="800" kern="1200" dirty="0">
              <a:solidFill>
                <a:schemeClr val="bg1"/>
              </a:solidFill>
              <a:effectLst/>
              <a:latin typeface="+mn-lt"/>
              <a:ea typeface="+mn-ea"/>
              <a:cs typeface="+mn-cs"/>
            </a:endParaRPr>
          </a:p>
          <a:p>
            <a:r>
              <a:rPr lang="en-US" altLang="zh-TW" sz="800" kern="1200" dirty="0">
                <a:solidFill>
                  <a:schemeClr val="bg1"/>
                </a:solidFill>
                <a:effectLst/>
                <a:latin typeface="+mn-lt"/>
                <a:ea typeface="+mn-ea"/>
                <a:cs typeface="+mn-cs"/>
              </a:rPr>
              <a:t> </a:t>
            </a:r>
            <a:endParaRPr lang="zh-TW" altLang="zh-TW" sz="800" kern="1200" dirty="0">
              <a:solidFill>
                <a:schemeClr val="bg1"/>
              </a:solidFill>
              <a:effectLst/>
              <a:latin typeface="+mn-lt"/>
              <a:ea typeface="+mn-ea"/>
              <a:cs typeface="+mn-cs"/>
            </a:endParaRPr>
          </a:p>
          <a:p>
            <a:r>
              <a:rPr lang="en-US" altLang="zh-TW" sz="800" kern="1200" dirty="0">
                <a:solidFill>
                  <a:schemeClr val="bg1"/>
                </a:solidFill>
                <a:effectLst/>
                <a:latin typeface="+mn-lt"/>
                <a:ea typeface="+mn-ea"/>
                <a:cs typeface="+mn-cs"/>
              </a:rPr>
              <a:t>© 2022 Deloitte Asia Pacific Services Limited.</a:t>
            </a:r>
            <a:endParaRPr lang="zh-TW" altLang="zh-TW" sz="80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136314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le white">
    <p:spTree>
      <p:nvGrpSpPr>
        <p:cNvPr id="1" name=""/>
        <p:cNvGrpSpPr/>
        <p:nvPr/>
      </p:nvGrpSpPr>
      <p:grpSpPr>
        <a:xfrm>
          <a:off x="0" y="0"/>
          <a:ext cx="0" cy="0"/>
          <a:chOff x="0" y="0"/>
          <a:chExt cx="0" cy="0"/>
        </a:xfrm>
      </p:grpSpPr>
      <p:pic>
        <p:nvPicPr>
          <p:cNvPr id="14" name="Deloitte_Cyber_Pulse_Hero_RGB.jpg" descr="Deloitte_Cyber_Pulse_Hero_RG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a:ln w="12700">
            <a:miter lim="400000"/>
          </a:ln>
        </p:spPr>
      </p:pic>
      <p:sp>
        <p:nvSpPr>
          <p:cNvPr id="16" name="Slide Number"/>
          <p:cNvSpPr txBox="1">
            <a:spLocks noGrp="1"/>
          </p:cNvSpPr>
          <p:nvPr>
            <p:ph type="sldNum" sz="quarter" idx="2"/>
          </p:nvPr>
        </p:nvSpPr>
        <p:spPr>
          <a:xfrm>
            <a:off x="5892800" y="6172200"/>
            <a:ext cx="2844800" cy="368301"/>
          </a:xfrm>
          <a:prstGeom prst="rect">
            <a:avLst/>
          </a:prstGeom>
        </p:spPr>
        <p:txBody>
          <a:bodyPr lIns="45719" tIns="45719" rIns="45719" bIns="45719" anchor="ctr"/>
          <a:lstStyle>
            <a:lvl1pPr algn="r">
              <a:defRPr sz="1200">
                <a:solidFill>
                  <a:srgbClr val="000000"/>
                </a:solidFill>
                <a:latin typeface="Open Sans"/>
                <a:ea typeface="Open Sans"/>
                <a:cs typeface="Open Sans"/>
                <a:sym typeface="Open Sans"/>
              </a:defRPr>
            </a:lvl1pPr>
          </a:lstStyle>
          <a:p>
            <a:fld id="{86CB4B4D-7CA3-9044-876B-883B54F8677D}" type="slidenum">
              <a:t>‹#›</a:t>
            </a:fld>
            <a:endParaRPr/>
          </a:p>
        </p:txBody>
      </p:sp>
      <p:grpSp>
        <p:nvGrpSpPr>
          <p:cNvPr id="5" name="群組 1">
            <a:extLst>
              <a:ext uri="{FF2B5EF4-FFF2-40B4-BE49-F238E27FC236}">
                <a16:creationId xmlns:a16="http://schemas.microsoft.com/office/drawing/2014/main" id="{C7D2D78E-AD42-4FAF-85A9-B8AE5D795F5D}"/>
              </a:ext>
            </a:extLst>
          </p:cNvPr>
          <p:cNvGrpSpPr/>
          <p:nvPr userDrawn="1"/>
        </p:nvGrpSpPr>
        <p:grpSpPr>
          <a:xfrm>
            <a:off x="10444934" y="451571"/>
            <a:ext cx="1277166" cy="298647"/>
            <a:chOff x="463716" y="867128"/>
            <a:chExt cx="1277166" cy="298647"/>
          </a:xfrm>
        </p:grpSpPr>
        <p:sp>
          <p:nvSpPr>
            <p:cNvPr id="6" name="Freeform 6">
              <a:extLst>
                <a:ext uri="{FF2B5EF4-FFF2-40B4-BE49-F238E27FC236}">
                  <a16:creationId xmlns:a16="http://schemas.microsoft.com/office/drawing/2014/main" id="{793A019E-653A-4521-B4D4-759EBB59E3FD}"/>
                </a:ext>
              </a:extLst>
            </p:cNvPr>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7" name="Freeform 11">
              <a:extLst>
                <a:ext uri="{FF2B5EF4-FFF2-40B4-BE49-F238E27FC236}">
                  <a16:creationId xmlns:a16="http://schemas.microsoft.com/office/drawing/2014/main" id="{B79AFD5F-3B39-47E8-9608-80CA8BEED76E}"/>
                </a:ext>
              </a:extLst>
            </p:cNvPr>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 name="Freeform 15">
              <a:extLst>
                <a:ext uri="{FF2B5EF4-FFF2-40B4-BE49-F238E27FC236}">
                  <a16:creationId xmlns:a16="http://schemas.microsoft.com/office/drawing/2014/main" id="{4866856F-4BF2-4AD8-9B44-84B8212BA997}"/>
                </a:ext>
              </a:extLst>
            </p:cNvPr>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 name="Freeform 16">
              <a:extLst>
                <a:ext uri="{FF2B5EF4-FFF2-40B4-BE49-F238E27FC236}">
                  <a16:creationId xmlns:a16="http://schemas.microsoft.com/office/drawing/2014/main" id="{5BB77A33-8F28-4D6D-95B2-B6D13727C558}"/>
                </a:ext>
              </a:extLst>
            </p:cNvPr>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0" name="Freeform 18">
              <a:extLst>
                <a:ext uri="{FF2B5EF4-FFF2-40B4-BE49-F238E27FC236}">
                  <a16:creationId xmlns:a16="http://schemas.microsoft.com/office/drawing/2014/main" id="{0A7175AC-F521-4DBD-847E-CB3BA815A3BE}"/>
                </a:ext>
              </a:extLst>
            </p:cNvPr>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1" name="Freeform 23">
              <a:extLst>
                <a:ext uri="{FF2B5EF4-FFF2-40B4-BE49-F238E27FC236}">
                  <a16:creationId xmlns:a16="http://schemas.microsoft.com/office/drawing/2014/main" id="{3CB134F1-9EA5-4E19-AEC5-593F9F2795E9}"/>
                </a:ext>
              </a:extLst>
            </p:cNvPr>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2" name="Freeform 25">
              <a:extLst>
                <a:ext uri="{FF2B5EF4-FFF2-40B4-BE49-F238E27FC236}">
                  <a16:creationId xmlns:a16="http://schemas.microsoft.com/office/drawing/2014/main" id="{F9A74CC3-C877-43BE-99E3-50A0753FB936}"/>
                </a:ext>
              </a:extLst>
            </p:cNvPr>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3" name="Freeform 27">
              <a:extLst>
                <a:ext uri="{FF2B5EF4-FFF2-40B4-BE49-F238E27FC236}">
                  <a16:creationId xmlns:a16="http://schemas.microsoft.com/office/drawing/2014/main" id="{4E251BC5-84EE-4708-A884-194D7C63211B}"/>
                </a:ext>
              </a:extLst>
            </p:cNvPr>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7" name="Freeform 30">
              <a:extLst>
                <a:ext uri="{FF2B5EF4-FFF2-40B4-BE49-F238E27FC236}">
                  <a16:creationId xmlns:a16="http://schemas.microsoft.com/office/drawing/2014/main" id="{85753BA3-5F16-4CE6-9157-FA03CEE52709}"/>
                </a:ext>
              </a:extLst>
            </p:cNvPr>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8" name="Freeform 31">
              <a:extLst>
                <a:ext uri="{FF2B5EF4-FFF2-40B4-BE49-F238E27FC236}">
                  <a16:creationId xmlns:a16="http://schemas.microsoft.com/office/drawing/2014/main" id="{33BE24A7-2512-400B-8676-A5C5B9B9C26B}"/>
                </a:ext>
              </a:extLst>
            </p:cNvPr>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9" name="Freeform 33">
              <a:extLst>
                <a:ext uri="{FF2B5EF4-FFF2-40B4-BE49-F238E27FC236}">
                  <a16:creationId xmlns:a16="http://schemas.microsoft.com/office/drawing/2014/main" id="{C5BE5B73-427D-4BC8-A537-DB9EFBCC8480}"/>
                </a:ext>
              </a:extLst>
            </p:cNvPr>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20" name="群組 3">
            <a:extLst>
              <a:ext uri="{FF2B5EF4-FFF2-40B4-BE49-F238E27FC236}">
                <a16:creationId xmlns:a16="http://schemas.microsoft.com/office/drawing/2014/main" id="{1EC30CA0-9DCF-4C0A-AC65-1036A31DADE8}"/>
              </a:ext>
            </a:extLst>
          </p:cNvPr>
          <p:cNvGrpSpPr/>
          <p:nvPr userDrawn="1"/>
        </p:nvGrpSpPr>
        <p:grpSpPr>
          <a:xfrm>
            <a:off x="462474" y="460447"/>
            <a:ext cx="1624863" cy="303614"/>
            <a:chOff x="462474" y="460447"/>
            <a:chExt cx="1624863" cy="303614"/>
          </a:xfrm>
        </p:grpSpPr>
        <p:sp>
          <p:nvSpPr>
            <p:cNvPr id="21" name="Freeform 36">
              <a:extLst>
                <a:ext uri="{FF2B5EF4-FFF2-40B4-BE49-F238E27FC236}">
                  <a16:creationId xmlns:a16="http://schemas.microsoft.com/office/drawing/2014/main" id="{6495B7DC-54DF-4C08-9450-693ADDBEBDC9}"/>
                </a:ext>
              </a:extLst>
            </p:cNvPr>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2" name="Freeform 38">
              <a:extLst>
                <a:ext uri="{FF2B5EF4-FFF2-40B4-BE49-F238E27FC236}">
                  <a16:creationId xmlns:a16="http://schemas.microsoft.com/office/drawing/2014/main" id="{65FB39D4-3A0E-4925-9FBF-1DBA4D15B718}"/>
                </a:ext>
              </a:extLst>
            </p:cNvPr>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3" name="Rectangle 22">
              <a:extLst>
                <a:ext uri="{FF2B5EF4-FFF2-40B4-BE49-F238E27FC236}">
                  <a16:creationId xmlns:a16="http://schemas.microsoft.com/office/drawing/2014/main" id="{1D613082-8AB9-4AE8-947A-E130190286E6}"/>
                </a:ext>
              </a:extLst>
            </p:cNvPr>
            <p:cNvSpPr>
              <a:spLocks noChangeArrowheads="1"/>
            </p:cNvSpPr>
            <p:nvPr/>
          </p:nvSpPr>
          <p:spPr bwMode="auto">
            <a:xfrm>
              <a:off x="969739" y="460447"/>
              <a:ext cx="75127" cy="29864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24" name="Freeform 42">
              <a:extLst>
                <a:ext uri="{FF2B5EF4-FFF2-40B4-BE49-F238E27FC236}">
                  <a16:creationId xmlns:a16="http://schemas.microsoft.com/office/drawing/2014/main" id="{DCE55007-865A-44A2-A280-3277CA2E7D41}"/>
                </a:ext>
              </a:extLst>
            </p:cNvPr>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5" name="Rectangle 45">
              <a:extLst>
                <a:ext uri="{FF2B5EF4-FFF2-40B4-BE49-F238E27FC236}">
                  <a16:creationId xmlns:a16="http://schemas.microsoft.com/office/drawing/2014/main" id="{1BC819BF-5AA5-44CF-9209-C190A510DA28}"/>
                </a:ext>
              </a:extLst>
            </p:cNvPr>
            <p:cNvSpPr>
              <a:spLocks noChangeArrowheads="1"/>
            </p:cNvSpPr>
            <p:nvPr/>
          </p:nvSpPr>
          <p:spPr bwMode="auto">
            <a:xfrm>
              <a:off x="1319920" y="536816"/>
              <a:ext cx="75127" cy="22227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26" name="Rectangle 46">
              <a:extLst>
                <a:ext uri="{FF2B5EF4-FFF2-40B4-BE49-F238E27FC236}">
                  <a16:creationId xmlns:a16="http://schemas.microsoft.com/office/drawing/2014/main" id="{F44341F2-2E90-479B-AC56-BABBD5B60B33}"/>
                </a:ext>
              </a:extLst>
            </p:cNvPr>
            <p:cNvSpPr>
              <a:spLocks noChangeArrowheads="1"/>
            </p:cNvSpPr>
            <p:nvPr/>
          </p:nvSpPr>
          <p:spPr bwMode="auto">
            <a:xfrm>
              <a:off x="1319920" y="460447"/>
              <a:ext cx="75127" cy="49671"/>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27" name="Freeform 47">
              <a:extLst>
                <a:ext uri="{FF2B5EF4-FFF2-40B4-BE49-F238E27FC236}">
                  <a16:creationId xmlns:a16="http://schemas.microsoft.com/office/drawing/2014/main" id="{1020FF10-5137-484D-93E9-793217574865}"/>
                </a:ext>
              </a:extLst>
            </p:cNvPr>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8" name="Freeform 49">
              <a:extLst>
                <a:ext uri="{FF2B5EF4-FFF2-40B4-BE49-F238E27FC236}">
                  <a16:creationId xmlns:a16="http://schemas.microsoft.com/office/drawing/2014/main" id="{02FAC048-304A-4141-A0AC-44530C3E72DC}"/>
                </a:ext>
              </a:extLst>
            </p:cNvPr>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9" name="Freeform 51">
              <a:extLst>
                <a:ext uri="{FF2B5EF4-FFF2-40B4-BE49-F238E27FC236}">
                  <a16:creationId xmlns:a16="http://schemas.microsoft.com/office/drawing/2014/main" id="{381902D1-599F-4774-8AD5-DEC0A73CE4CA}"/>
                </a:ext>
              </a:extLst>
            </p:cNvPr>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0" name="Freeform 54">
              <a:extLst>
                <a:ext uri="{FF2B5EF4-FFF2-40B4-BE49-F238E27FC236}">
                  <a16:creationId xmlns:a16="http://schemas.microsoft.com/office/drawing/2014/main" id="{13E70B8B-E5EC-4C72-86F5-7BCAC5BB0F32}"/>
                </a:ext>
              </a:extLst>
            </p:cNvPr>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31" name="Subtitle 2">
            <a:extLst>
              <a:ext uri="{FF2B5EF4-FFF2-40B4-BE49-F238E27FC236}">
                <a16:creationId xmlns:a16="http://schemas.microsoft.com/office/drawing/2014/main" id="{CEDC8788-9475-4980-9880-CC64AA2446C9}"/>
              </a:ext>
            </a:extLst>
          </p:cNvPr>
          <p:cNvSpPr>
            <a:spLocks noGrp="1"/>
          </p:cNvSpPr>
          <p:nvPr>
            <p:ph type="subTitle" idx="1" hasCustomPrompt="1"/>
          </p:nvPr>
        </p:nvSpPr>
        <p:spPr bwMode="gray">
          <a:xfrm>
            <a:off x="475201" y="5427133"/>
            <a:ext cx="5592011" cy="923698"/>
          </a:xfrm>
          <a:prstGeom prst="rect">
            <a:avLst/>
          </a:prstGeom>
        </p:spPr>
        <p:txBody>
          <a:bodyPr lIns="0" tIns="0" rIns="0" bIns="0" anchor="b" anchorCtr="0">
            <a:noAutofit/>
          </a:bodyPr>
          <a:lstStyle>
            <a:lvl1pPr marL="0" indent="0" algn="l">
              <a:lnSpc>
                <a:spcPct val="100000"/>
              </a:lnSpc>
              <a:spcAft>
                <a:spcPts val="0"/>
              </a:spcAft>
              <a:buNone/>
              <a:defRPr sz="1600" b="0">
                <a:solidFill>
                  <a:srgbClr val="86BC25"/>
                </a:solidFill>
                <a:latin typeface="Calibri" panose="020F0502020204030204" pitchFamily="34" charset="0"/>
                <a:ea typeface="+mj-ea"/>
                <a:cs typeface="Calibri" panose="020F0502020204030204" pitchFamily="34" charset="0"/>
              </a:defRPr>
            </a:lvl1pPr>
            <a:lvl2pPr marL="0" indent="0" algn="l">
              <a:buNone/>
              <a:defRPr sz="1600" b="0">
                <a:solidFill>
                  <a:schemeClr val="bg1"/>
                </a:solidFill>
                <a:latin typeface="Calibri" panose="020F0502020204030204" pitchFamily="34" charset="0"/>
                <a:ea typeface="+mj-ea"/>
                <a:cs typeface="Calibri" panose="020F0502020204030204" pitchFamily="34" charset="0"/>
              </a:defRPr>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en-US" noProof="0" dirty="0"/>
              <a:t>Click to edit Master title style</a:t>
            </a:r>
          </a:p>
          <a:p>
            <a:pPr lvl="1"/>
            <a:r>
              <a:rPr lang="en-US" noProof="0" dirty="0"/>
              <a:t>Click to edit Master subtitle style</a:t>
            </a:r>
          </a:p>
        </p:txBody>
      </p:sp>
      <p:sp>
        <p:nvSpPr>
          <p:cNvPr id="32" name="Text Placeholder 4">
            <a:extLst>
              <a:ext uri="{FF2B5EF4-FFF2-40B4-BE49-F238E27FC236}">
                <a16:creationId xmlns:a16="http://schemas.microsoft.com/office/drawing/2014/main" id="{4EB6ECEF-569C-4145-8328-26DEC83DD0A1}"/>
              </a:ext>
            </a:extLst>
          </p:cNvPr>
          <p:cNvSpPr>
            <a:spLocks noGrp="1"/>
          </p:cNvSpPr>
          <p:nvPr>
            <p:ph type="body" sz="quarter" idx="10"/>
          </p:nvPr>
        </p:nvSpPr>
        <p:spPr>
          <a:xfrm>
            <a:off x="475200" y="6362705"/>
            <a:ext cx="5594349" cy="298451"/>
          </a:xfrm>
          <a:prstGeom prst="rect">
            <a:avLst/>
          </a:prstGeom>
        </p:spPr>
        <p:txBody>
          <a:bodyPr/>
          <a:lstStyle>
            <a:lvl1pPr>
              <a:spcAft>
                <a:spcPts val="0"/>
              </a:spcAft>
              <a:defRPr sz="105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按一下以編輯母片文字樣式</a:t>
            </a:r>
          </a:p>
        </p:txBody>
      </p:sp>
    </p:spTree>
    <p:extLst>
      <p:ext uri="{BB962C8B-B14F-4D97-AF65-F5344CB8AC3E}">
        <p14:creationId xmlns:p14="http://schemas.microsoft.com/office/powerpoint/2010/main" val="1999562144"/>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x">
  <p:cSld name="3_Content">
    <p:spTree>
      <p:nvGrpSpPr>
        <p:cNvPr id="1" name=""/>
        <p:cNvGrpSpPr/>
        <p:nvPr/>
      </p:nvGrpSpPr>
      <p:grpSpPr>
        <a:xfrm>
          <a:off x="0" y="0"/>
          <a:ext cx="0" cy="0"/>
          <a:chOff x="0" y="0"/>
          <a:chExt cx="0" cy="0"/>
        </a:xfrm>
      </p:grpSpPr>
      <p:pic>
        <p:nvPicPr>
          <p:cNvPr id="81" name="Deloitte_Cyber_Pulse_Background_RGB.png" descr="Deloitte_Cyber_Pulse_Background_RGB.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a:ln w="12700">
            <a:miter lim="400000"/>
          </a:ln>
        </p:spPr>
      </p:pic>
      <p:sp>
        <p:nvSpPr>
          <p:cNvPr id="82" name="Body Level One…"/>
          <p:cNvSpPr txBox="1">
            <a:spLocks noGrp="1"/>
          </p:cNvSpPr>
          <p:nvPr>
            <p:ph type="body" sz="quarter" idx="1" hasCustomPrompt="1"/>
          </p:nvPr>
        </p:nvSpPr>
        <p:spPr>
          <a:xfrm>
            <a:off x="482412" y="781887"/>
            <a:ext cx="7432863" cy="454081"/>
          </a:xfrm>
          <a:prstGeom prst="rect">
            <a:avLst/>
          </a:prstGeom>
        </p:spPr>
        <p:txBody>
          <a:bodyPr>
            <a:normAutofit/>
          </a:bodyPr>
          <a:lstStyle>
            <a:lvl1pPr defTabSz="914400">
              <a:defRPr sz="1400">
                <a:solidFill>
                  <a:srgbClr val="FFFFFF"/>
                </a:solidFill>
                <a:latin typeface="Open Sans Light"/>
                <a:ea typeface="Open Sans Light"/>
                <a:cs typeface="Open Sans Light"/>
                <a:sym typeface="Open Sans Light"/>
              </a:defRPr>
            </a:lvl1pPr>
            <a:lvl2pPr marL="148166" indent="-148166" defTabSz="914400">
              <a:defRPr sz="1400">
                <a:solidFill>
                  <a:srgbClr val="FFFFFF"/>
                </a:solidFill>
                <a:latin typeface="Open Sans Light"/>
                <a:ea typeface="Open Sans Light"/>
                <a:cs typeface="Open Sans Light"/>
                <a:sym typeface="Open Sans Light"/>
              </a:defRPr>
            </a:lvl2pPr>
            <a:lvl3pPr marL="300566" indent="-148166" defTabSz="914400">
              <a:defRPr sz="1400">
                <a:solidFill>
                  <a:srgbClr val="FFFFFF"/>
                </a:solidFill>
                <a:latin typeface="Open Sans Light"/>
                <a:ea typeface="Open Sans Light"/>
                <a:cs typeface="Open Sans Light"/>
                <a:sym typeface="Open Sans Light"/>
              </a:defRPr>
            </a:lvl3pPr>
            <a:lvl4pPr marL="452966" indent="-148166" defTabSz="914400">
              <a:defRPr sz="1400">
                <a:solidFill>
                  <a:srgbClr val="FFFFFF"/>
                </a:solidFill>
                <a:latin typeface="Open Sans Light"/>
                <a:ea typeface="Open Sans Light"/>
                <a:cs typeface="Open Sans Light"/>
                <a:sym typeface="Open Sans Light"/>
              </a:defRPr>
            </a:lvl4pPr>
            <a:lvl5pPr marL="605366" indent="-148166" defTabSz="914400">
              <a:defRPr sz="1400">
                <a:solidFill>
                  <a:srgbClr val="FFFFFF"/>
                </a:solidFill>
                <a:latin typeface="Open Sans Light"/>
                <a:ea typeface="Open Sans Light"/>
                <a:cs typeface="Open Sans Light"/>
                <a:sym typeface="Open Sans Light"/>
              </a:defRPr>
            </a:lvl5pPr>
          </a:lstStyle>
          <a:p>
            <a:r>
              <a:t>Click to add subtitle</a:t>
            </a:r>
          </a:p>
          <a:p>
            <a:pPr lvl="1"/>
            <a:endParaRPr/>
          </a:p>
          <a:p>
            <a:pPr lvl="2"/>
            <a:endParaRPr/>
          </a:p>
          <a:p>
            <a:pPr lvl="3"/>
            <a:endParaRPr/>
          </a:p>
          <a:p>
            <a:pPr lvl="4"/>
            <a:endParaRPr/>
          </a:p>
        </p:txBody>
      </p:sp>
      <p:sp>
        <p:nvSpPr>
          <p:cNvPr id="83" name="Title Text"/>
          <p:cNvSpPr txBox="1">
            <a:spLocks noGrp="1"/>
          </p:cNvSpPr>
          <p:nvPr>
            <p:ph type="title"/>
          </p:nvPr>
        </p:nvSpPr>
        <p:spPr>
          <a:xfrm>
            <a:off x="469901" y="402587"/>
            <a:ext cx="8242301" cy="379302"/>
          </a:xfrm>
          <a:prstGeom prst="rect">
            <a:avLst/>
          </a:prstGeom>
        </p:spPr>
        <p:txBody>
          <a:bodyPr/>
          <a:lstStyle>
            <a:lvl1pPr>
              <a:defRPr>
                <a:solidFill>
                  <a:schemeClr val="accent1"/>
                </a:solidFill>
              </a:defRPr>
            </a:lvl1pPr>
          </a:lstStyle>
          <a:p>
            <a:r>
              <a:t>Title Text</a:t>
            </a:r>
          </a:p>
        </p:txBody>
      </p:sp>
      <p:pic>
        <p:nvPicPr>
          <p:cNvPr id="84" name="Deloitte_Cyber_Pulse_Surround_Isolated_RGB.png" descr="Deloitte_Cyber_Pulse_Surround_Isolated_RGB.png"/>
          <p:cNvPicPr>
            <a:picLocks noChangeAspect="1"/>
          </p:cNvPicPr>
          <p:nvPr/>
        </p:nvPicPr>
        <p:blipFill>
          <a:blip r:embed="rId3"/>
          <a:stretch>
            <a:fillRect/>
          </a:stretch>
        </p:blipFill>
        <p:spPr>
          <a:xfrm rot="13980000">
            <a:off x="-2333590" y="-4658488"/>
            <a:ext cx="28755511" cy="16174976"/>
          </a:xfrm>
          <a:prstGeom prst="rect">
            <a:avLst/>
          </a:prstGeom>
          <a:ln w="12700">
            <a:miter lim="400000"/>
          </a:ln>
        </p:spPr>
      </p:pic>
      <p:pic>
        <p:nvPicPr>
          <p:cNvPr id="85" name="Deloitte_Cyber_Pulse_Surround_Isolated_RGB.png" descr="Deloitte_Cyber_Pulse_Surround_Isolated_RGB.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93494" y="-312004"/>
            <a:ext cx="13301345" cy="7482008"/>
          </a:xfrm>
          <a:prstGeom prst="rect">
            <a:avLst/>
          </a:prstGeom>
          <a:ln w="12700">
            <a:miter lim="400000"/>
          </a:ln>
        </p:spPr>
      </p:pic>
      <p:pic>
        <p:nvPicPr>
          <p:cNvPr id="86" name="Deloitte_Cyber_Pulse_Surround_Isolated_RGB.png" descr="Deloitte_Cyber_Pulse_Surround_Isolated_RGB.png"/>
          <p:cNvPicPr>
            <a:picLocks noChangeAspect="1"/>
          </p:cNvPicPr>
          <p:nvPr/>
        </p:nvPicPr>
        <p:blipFill>
          <a:blip r:embed="rId3">
            <a:alphaModFix amt="29725"/>
          </a:blip>
          <a:stretch>
            <a:fillRect/>
          </a:stretch>
        </p:blipFill>
        <p:spPr>
          <a:xfrm rot="9780000">
            <a:off x="-17240556" y="-13043655"/>
            <a:ext cx="58569443" cy="32945310"/>
          </a:xfrm>
          <a:prstGeom prst="rect">
            <a:avLst/>
          </a:prstGeom>
          <a:ln w="12700">
            <a:miter lim="400000"/>
          </a:ln>
        </p:spPr>
      </p:pic>
      <p:sp>
        <p:nvSpPr>
          <p:cNvPr id="11" name="Rectangle 2">
            <a:extLst>
              <a:ext uri="{FF2B5EF4-FFF2-40B4-BE49-F238E27FC236}">
                <a16:creationId xmlns:a16="http://schemas.microsoft.com/office/drawing/2014/main" id="{F24830C5-D949-4294-8D63-B557A0234DD2}"/>
              </a:ext>
            </a:extLst>
          </p:cNvPr>
          <p:cNvSpPr txBox="1"/>
          <p:nvPr userDrawn="1"/>
        </p:nvSpPr>
        <p:spPr>
          <a:xfrm>
            <a:off x="698498" y="6444146"/>
            <a:ext cx="437780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defPPr>
              <a:defRPr lang="en-US"/>
            </a:defPPr>
            <a:lvl1pPr>
              <a:spcBef>
                <a:spcPts val="600"/>
              </a:spcBef>
              <a:buSzPct val="100000"/>
              <a:buFont typeface="Arial" panose="020B0604020202020204" pitchFamily="34" charset="0"/>
              <a:buNone/>
              <a:defRPr kumimoji="0" sz="1100">
                <a:latin typeface="微軟正黑體" panose="020B0604030504040204" pitchFamily="34" charset="-120"/>
                <a:ea typeface="微軟正黑體" panose="020B0604030504040204" pitchFamily="34" charset="-120"/>
              </a:defRPr>
            </a:lvl1pPr>
          </a:lstStyle>
          <a:p>
            <a:pPr lvl="0"/>
            <a:r>
              <a:rPr lang="zh-TW" altLang="en-US" dirty="0">
                <a:solidFill>
                  <a:schemeClr val="bg1"/>
                </a:solidFill>
              </a:rPr>
              <a:t>勤業眾信版權所有 保留一切權利</a:t>
            </a: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首頁_黑底文字">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mj-ea"/>
                <a:cs typeface="Open Sans" panose="020B0606030504020204" pitchFamily="34" charset="0"/>
              </a:defRPr>
            </a:lvl1pPr>
          </a:lstStyle>
          <a:p>
            <a:r>
              <a:rPr lang="zh-TW" altLang="en-US" noProof="0"/>
              <a:t>按一下以編輯母片標題樣式</a:t>
            </a:r>
            <a:endParaRPr lang="en-US" noProof="0" dirty="0"/>
          </a:p>
        </p:txBody>
      </p:sp>
      <p:sp>
        <p:nvSpPr>
          <p:cNvPr id="3" name="Subtitle 2"/>
          <p:cNvSpPr>
            <a:spLocks noGrp="1"/>
          </p:cNvSpPr>
          <p:nvPr>
            <p:ph type="subTitle" idx="1"/>
          </p:nvPr>
        </p:nvSpPr>
        <p:spPr bwMode="gray">
          <a:xfrm>
            <a:off x="475201" y="5845186"/>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latin typeface="+mj-lt"/>
              </a:defRPr>
            </a:lvl1pPr>
            <a:lvl2pPr marL="609555" indent="0" algn="ctr">
              <a:buNone/>
              <a:defRPr sz="2667"/>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zh-TW" altLang="en-US" noProof="0"/>
              <a:t>按一下以編輯母片子標題樣式</a:t>
            </a:r>
            <a:endParaRPr lang="en-US" noProof="0" dirty="0"/>
          </a:p>
        </p:txBody>
      </p:sp>
      <p:sp>
        <p:nvSpPr>
          <p:cNvPr id="5" name="Text Placeholder 4"/>
          <p:cNvSpPr>
            <a:spLocks noGrp="1"/>
          </p:cNvSpPr>
          <p:nvPr>
            <p:ph type="body" sz="quarter" idx="10"/>
          </p:nvPr>
        </p:nvSpPr>
        <p:spPr>
          <a:xfrm>
            <a:off x="475200" y="6362705"/>
            <a:ext cx="5594349" cy="298451"/>
          </a:xfrm>
          <a:prstGeom prst="rect">
            <a:avLst/>
          </a:prstGeom>
        </p:spPr>
        <p:txBody>
          <a:bodyPr/>
          <a:lstStyle>
            <a:lvl1pPr>
              <a:spcAft>
                <a:spcPts val="0"/>
              </a:spcAft>
              <a:defRPr sz="105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按一下以編輯母片文字樣式</a:t>
            </a:r>
          </a:p>
        </p:txBody>
      </p:sp>
      <p:grpSp>
        <p:nvGrpSpPr>
          <p:cNvPr id="4" name="群組 3"/>
          <p:cNvGrpSpPr/>
          <p:nvPr userDrawn="1"/>
        </p:nvGrpSpPr>
        <p:grpSpPr>
          <a:xfrm>
            <a:off x="462474" y="460447"/>
            <a:ext cx="1624863" cy="303614"/>
            <a:chOff x="462474" y="460447"/>
            <a:chExt cx="1624863" cy="303614"/>
          </a:xfrm>
        </p:grpSpPr>
        <p:sp>
          <p:nvSpPr>
            <p:cNvPr id="39" name="Freeform 36"/>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38"/>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Rectangle 41"/>
            <p:cNvSpPr>
              <a:spLocks noChangeArrowheads="1"/>
            </p:cNvSpPr>
            <p:nvPr/>
          </p:nvSpPr>
          <p:spPr bwMode="auto">
            <a:xfrm>
              <a:off x="969739" y="460447"/>
              <a:ext cx="75127" cy="29864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42"/>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Rectangle 45"/>
            <p:cNvSpPr>
              <a:spLocks noChangeArrowheads="1"/>
            </p:cNvSpPr>
            <p:nvPr/>
          </p:nvSpPr>
          <p:spPr bwMode="auto">
            <a:xfrm>
              <a:off x="1319920" y="536816"/>
              <a:ext cx="75127" cy="22227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6"/>
            <p:cNvSpPr>
              <a:spLocks noChangeArrowheads="1"/>
            </p:cNvSpPr>
            <p:nvPr/>
          </p:nvSpPr>
          <p:spPr bwMode="auto">
            <a:xfrm>
              <a:off x="1319920" y="460447"/>
              <a:ext cx="75127" cy="49671"/>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47"/>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9"/>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51"/>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4"/>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5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5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36" name="群組 35"/>
          <p:cNvGrpSpPr/>
          <p:nvPr userDrawn="1"/>
        </p:nvGrpSpPr>
        <p:grpSpPr>
          <a:xfrm>
            <a:off x="10444934" y="451571"/>
            <a:ext cx="1277166" cy="298647"/>
            <a:chOff x="463716" y="867128"/>
            <a:chExt cx="1277166" cy="298647"/>
          </a:xfrm>
        </p:grpSpPr>
        <p:sp>
          <p:nvSpPr>
            <p:cNvPr id="37"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49"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0"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1"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1"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2"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3"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4"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5"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6"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7"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22743138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5_Content">
    <p:spTree>
      <p:nvGrpSpPr>
        <p:cNvPr id="1" name=""/>
        <p:cNvGrpSpPr/>
        <p:nvPr/>
      </p:nvGrpSpPr>
      <p:grpSpPr>
        <a:xfrm>
          <a:off x="0" y="0"/>
          <a:ext cx="0" cy="0"/>
          <a:chOff x="0" y="0"/>
          <a:chExt cx="0" cy="0"/>
        </a:xfrm>
      </p:grpSpPr>
      <p:pic>
        <p:nvPicPr>
          <p:cNvPr id="134" name="Deloitte_Cyber_Pulse_Background_RGB.png" descr="Deloitte_Cyber_Pulse_Background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a:ln w="12700">
            <a:miter lim="400000"/>
          </a:ln>
        </p:spPr>
      </p:pic>
      <p:sp>
        <p:nvSpPr>
          <p:cNvPr id="136" name="Title Text"/>
          <p:cNvSpPr txBox="1">
            <a:spLocks noGrp="1"/>
          </p:cNvSpPr>
          <p:nvPr>
            <p:ph type="title"/>
          </p:nvPr>
        </p:nvSpPr>
        <p:spPr>
          <a:xfrm>
            <a:off x="469901" y="402587"/>
            <a:ext cx="8242301" cy="379302"/>
          </a:xfrm>
          <a:prstGeom prst="rect">
            <a:avLst/>
          </a:prstGeom>
        </p:spPr>
        <p:txBody>
          <a:bodyPr/>
          <a:lstStyle>
            <a:lvl1pPr>
              <a:defRPr>
                <a:solidFill>
                  <a:schemeClr val="accent1"/>
                </a:solidFill>
              </a:defRPr>
            </a:lvl1pPr>
          </a:lstStyle>
          <a:p>
            <a:r>
              <a:rPr dirty="0"/>
              <a:t>Title Text</a:t>
            </a:r>
          </a:p>
        </p:txBody>
      </p:sp>
      <p:sp>
        <p:nvSpPr>
          <p:cNvPr id="7" name="Rectangle 2">
            <a:extLst>
              <a:ext uri="{FF2B5EF4-FFF2-40B4-BE49-F238E27FC236}">
                <a16:creationId xmlns:a16="http://schemas.microsoft.com/office/drawing/2014/main" id="{4276ADC6-9961-4929-90AA-D3281B7338C9}"/>
              </a:ext>
            </a:extLst>
          </p:cNvPr>
          <p:cNvSpPr txBox="1"/>
          <p:nvPr userDrawn="1"/>
        </p:nvSpPr>
        <p:spPr>
          <a:xfrm>
            <a:off x="698498" y="6444146"/>
            <a:ext cx="437780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defPPr>
              <a:defRPr lang="en-US"/>
            </a:defPPr>
            <a:lvl1pPr>
              <a:spcBef>
                <a:spcPts val="600"/>
              </a:spcBef>
              <a:buSzPct val="100000"/>
              <a:buFont typeface="Arial" panose="020B0604020202020204" pitchFamily="34" charset="0"/>
              <a:buNone/>
              <a:defRPr kumimoji="0" sz="1100">
                <a:latin typeface="微軟正黑體" panose="020B0604030504040204" pitchFamily="34" charset="-120"/>
                <a:ea typeface="微軟正黑體" panose="020B0604030504040204" pitchFamily="34" charset="-120"/>
              </a:defRPr>
            </a:lvl1pPr>
          </a:lstStyle>
          <a:p>
            <a:pPr lvl="0"/>
            <a:r>
              <a:rPr lang="zh-TW" altLang="en-US" dirty="0">
                <a:solidFill>
                  <a:schemeClr val="bg1"/>
                </a:solidFill>
              </a:rPr>
              <a:t>勤業眾信版權所有 保留一切權利</a:t>
            </a:r>
          </a:p>
        </p:txBody>
      </p:sp>
      <p:sp>
        <p:nvSpPr>
          <p:cNvPr id="8" name="TextBox 11">
            <a:extLst>
              <a:ext uri="{FF2B5EF4-FFF2-40B4-BE49-F238E27FC236}">
                <a16:creationId xmlns:a16="http://schemas.microsoft.com/office/drawing/2014/main" id="{6E10EF8C-30E4-4EE0-BB18-18C919FA9574}"/>
              </a:ext>
            </a:extLst>
          </p:cNvPr>
          <p:cNvSpPr txBox="1"/>
          <p:nvPr userDrawn="1"/>
        </p:nvSpPr>
        <p:spPr>
          <a:xfrm>
            <a:off x="11410950" y="6477000"/>
            <a:ext cx="307975" cy="92333"/>
          </a:xfrm>
          <a:prstGeom prst="rect">
            <a:avLst/>
          </a:prstGeom>
          <a:noFill/>
        </p:spPr>
        <p:txBody>
          <a:bodyPr lIns="0" tIns="0" rIns="0" bIns="0">
            <a:spAutoFit/>
          </a:bodyPr>
          <a:lstStyle>
            <a:lvl1pPr>
              <a:defRPr kumimoji="1" sz="2400">
                <a:solidFill>
                  <a:schemeClr val="tx1"/>
                </a:solidFill>
                <a:latin typeface="Arial" panose="020B0604020202020204" pitchFamily="34" charset="0"/>
                <a:ea typeface="新細明體" panose="02020500000000000000" pitchFamily="18" charset="-120"/>
              </a:defRPr>
            </a:lvl1pPr>
            <a:lvl2pPr marL="742950" indent="-285750">
              <a:defRPr kumimoji="1" sz="2400">
                <a:solidFill>
                  <a:schemeClr val="tx1"/>
                </a:solidFill>
                <a:latin typeface="Arial" panose="020B0604020202020204" pitchFamily="34" charset="0"/>
                <a:ea typeface="新細明體" panose="02020500000000000000" pitchFamily="18" charset="-120"/>
              </a:defRPr>
            </a:lvl2pPr>
            <a:lvl3pPr marL="1143000" indent="-228600">
              <a:defRPr kumimoji="1" sz="2400">
                <a:solidFill>
                  <a:schemeClr val="tx1"/>
                </a:solidFill>
                <a:latin typeface="Arial" panose="020B0604020202020204" pitchFamily="34" charset="0"/>
                <a:ea typeface="新細明體" panose="02020500000000000000" pitchFamily="18" charset="-120"/>
              </a:defRPr>
            </a:lvl3pPr>
            <a:lvl4pPr marL="1600200" indent="-228600">
              <a:defRPr kumimoji="1" sz="2400">
                <a:solidFill>
                  <a:schemeClr val="tx1"/>
                </a:solidFill>
                <a:latin typeface="Arial" panose="020B0604020202020204" pitchFamily="34" charset="0"/>
                <a:ea typeface="新細明體" panose="02020500000000000000" pitchFamily="18" charset="-120"/>
              </a:defRPr>
            </a:lvl4pPr>
            <a:lvl5pPr marL="2057400" indent="-228600">
              <a:defRPr kumimoji="1" sz="2400">
                <a:solidFill>
                  <a:schemeClr val="tx1"/>
                </a:solidFill>
                <a:latin typeface="Arial" panose="020B0604020202020204" pitchFamily="34" charset="0"/>
                <a:ea typeface="新細明體" panose="02020500000000000000" pitchFamily="18" charset="-120"/>
              </a:defRPr>
            </a:lvl5pPr>
            <a:lvl6pPr marL="2514600" indent="-228600" defTabSz="1217613" eaLnBrk="0" fontAlgn="base" hangingPunct="0">
              <a:spcBef>
                <a:spcPct val="0"/>
              </a:spcBef>
              <a:spcAft>
                <a:spcPct val="0"/>
              </a:spcAft>
              <a:defRPr kumimoji="1" sz="2400">
                <a:solidFill>
                  <a:schemeClr val="tx1"/>
                </a:solidFill>
                <a:latin typeface="Arial" panose="020B0604020202020204" pitchFamily="34" charset="0"/>
                <a:ea typeface="新細明體" panose="02020500000000000000" pitchFamily="18" charset="-120"/>
              </a:defRPr>
            </a:lvl6pPr>
            <a:lvl7pPr marL="2971800" indent="-228600" defTabSz="1217613" eaLnBrk="0" fontAlgn="base" hangingPunct="0">
              <a:spcBef>
                <a:spcPct val="0"/>
              </a:spcBef>
              <a:spcAft>
                <a:spcPct val="0"/>
              </a:spcAft>
              <a:defRPr kumimoji="1" sz="2400">
                <a:solidFill>
                  <a:schemeClr val="tx1"/>
                </a:solidFill>
                <a:latin typeface="Arial" panose="020B0604020202020204" pitchFamily="34" charset="0"/>
                <a:ea typeface="新細明體" panose="02020500000000000000" pitchFamily="18" charset="-120"/>
              </a:defRPr>
            </a:lvl7pPr>
            <a:lvl8pPr marL="3429000" indent="-228600" defTabSz="1217613" eaLnBrk="0" fontAlgn="base" hangingPunct="0">
              <a:spcBef>
                <a:spcPct val="0"/>
              </a:spcBef>
              <a:spcAft>
                <a:spcPct val="0"/>
              </a:spcAft>
              <a:defRPr kumimoji="1" sz="2400">
                <a:solidFill>
                  <a:schemeClr val="tx1"/>
                </a:solidFill>
                <a:latin typeface="Arial" panose="020B0604020202020204" pitchFamily="34" charset="0"/>
                <a:ea typeface="新細明體" panose="02020500000000000000" pitchFamily="18" charset="-120"/>
              </a:defRPr>
            </a:lvl8pPr>
            <a:lvl9pPr marL="3886200" indent="-228600" defTabSz="1217613" eaLnBrk="0" fontAlgn="base" hangingPunct="0">
              <a:spcBef>
                <a:spcPct val="0"/>
              </a:spcBef>
              <a:spcAft>
                <a:spcPct val="0"/>
              </a:spcAft>
              <a:defRPr kumimoji="1" sz="2400">
                <a:solidFill>
                  <a:schemeClr val="tx1"/>
                </a:solidFill>
                <a:latin typeface="Arial" panose="020B0604020202020204" pitchFamily="34" charset="0"/>
                <a:ea typeface="新細明體" panose="02020500000000000000" pitchFamily="18" charset="-120"/>
              </a:defRPr>
            </a:lvl9pPr>
          </a:lstStyle>
          <a:p>
            <a:pPr algn="r" eaLnBrk="1" hangingPunct="1">
              <a:spcBef>
                <a:spcPts val="800"/>
              </a:spcBef>
              <a:buSzPct val="100000"/>
              <a:buFont typeface="Arial" panose="020B0604020202020204" pitchFamily="34" charset="0"/>
              <a:buNone/>
              <a:defRPr/>
            </a:pPr>
            <a:fld id="{E7E61299-7A82-41E1-97CD-3E7EE1DBD956}" type="slidenum">
              <a:rPr kumimoji="0" lang="en-US" altLang="zh-TW" sz="600" smtClean="0">
                <a:solidFill>
                  <a:schemeClr val="bg1"/>
                </a:solidFill>
                <a:latin typeface="Verdana" panose="020B0604030504040204" pitchFamily="34" charset="0"/>
                <a:ea typeface="微軟正黑體" panose="020B0604030504040204" pitchFamily="34" charset="-120"/>
              </a:rPr>
              <a:pPr algn="r" eaLnBrk="1" hangingPunct="1">
                <a:spcBef>
                  <a:spcPts val="800"/>
                </a:spcBef>
                <a:buSzPct val="100000"/>
                <a:buFont typeface="Arial" panose="020B0604020202020204" pitchFamily="34" charset="0"/>
                <a:buNone/>
                <a:defRPr/>
              </a:pPr>
              <a:t>‹#›</a:t>
            </a:fld>
            <a:endParaRPr kumimoji="0" lang="en-US" altLang="zh-TW" sz="600" dirty="0">
              <a:solidFill>
                <a:schemeClr val="bg1"/>
              </a:solidFill>
              <a:latin typeface="Verdana" panose="020B0604030504040204" pitchFamily="34" charset="0"/>
              <a:ea typeface="微軟正黑體" panose="020B0604030504040204" pitchFamily="34" charset="-120"/>
            </a:endParaRPr>
          </a:p>
        </p:txBody>
      </p:sp>
      <p:sp>
        <p:nvSpPr>
          <p:cNvPr id="9" name="Text Placeholder 8">
            <a:extLst>
              <a:ext uri="{FF2B5EF4-FFF2-40B4-BE49-F238E27FC236}">
                <a16:creationId xmlns:a16="http://schemas.microsoft.com/office/drawing/2014/main" id="{AF69E96F-3A5D-4A71-B784-6F2F5ECCB02A}"/>
              </a:ext>
            </a:extLst>
          </p:cNvPr>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1800" b="0">
                <a:solidFill>
                  <a:schemeClr val="bg2">
                    <a:lumMod val="20000"/>
                    <a:lumOff val="80000"/>
                  </a:schemeClr>
                </a:solidFill>
              </a:defRPr>
            </a:lvl1pPr>
          </a:lstStyle>
          <a:p>
            <a:pPr lvl="0"/>
            <a:r>
              <a:rPr lang="en-US" noProof="0" dirty="0"/>
              <a:t>Click to add subtitle</a:t>
            </a:r>
          </a:p>
        </p:txBody>
      </p:sp>
    </p:spTree>
    <p:extLst>
      <p:ext uri="{BB962C8B-B14F-4D97-AF65-F5344CB8AC3E}">
        <p14:creationId xmlns:p14="http://schemas.microsoft.com/office/powerpoint/2010/main" val="2439766881"/>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自訂版面配置">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6EDF62A0-9BAA-4DDD-8B36-19F0FFFCF864}"/>
              </a:ext>
            </a:extLst>
          </p:cNvPr>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70530502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首頁_白底文字">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mj-ea"/>
                <a:cs typeface="Open Sans" panose="020B0606030504020204" pitchFamily="34" charset="0"/>
              </a:defRPr>
            </a:lvl1pPr>
          </a:lstStyle>
          <a:p>
            <a:r>
              <a:rPr lang="zh-TW" altLang="en-US" noProof="0"/>
              <a:t>按一下以編輯母片標題樣式</a:t>
            </a:r>
            <a:endParaRPr lang="en-US" noProof="0" dirty="0"/>
          </a:p>
        </p:txBody>
      </p:sp>
      <p:sp>
        <p:nvSpPr>
          <p:cNvPr id="3" name="Subtitle 2"/>
          <p:cNvSpPr>
            <a:spLocks noGrp="1"/>
          </p:cNvSpPr>
          <p:nvPr>
            <p:ph type="subTitle" idx="1"/>
          </p:nvPr>
        </p:nvSpPr>
        <p:spPr bwMode="gray">
          <a:xfrm>
            <a:off x="475327" y="5845186"/>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latin typeface="+mj-lt"/>
              </a:defRPr>
            </a:lvl1pPr>
            <a:lvl2pPr marL="609555" indent="0" algn="ctr">
              <a:buNone/>
              <a:defRPr sz="2667"/>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zh-TW" altLang="en-US" noProof="0"/>
              <a:t>按一下以編輯母片子標題樣式</a:t>
            </a:r>
            <a:endParaRPr lang="en-US" noProof="0" dirty="0"/>
          </a:p>
        </p:txBody>
      </p:sp>
      <p:sp>
        <p:nvSpPr>
          <p:cNvPr id="5" name="Text Placeholder 4"/>
          <p:cNvSpPr>
            <a:spLocks noGrp="1"/>
          </p:cNvSpPr>
          <p:nvPr>
            <p:ph type="body" sz="quarter" idx="10"/>
          </p:nvPr>
        </p:nvSpPr>
        <p:spPr>
          <a:xfrm>
            <a:off x="475325" y="6362705"/>
            <a:ext cx="5594349" cy="298451"/>
          </a:xfrm>
          <a:prstGeom prst="rect">
            <a:avLst/>
          </a:prstGeom>
        </p:spPr>
        <p:txBody>
          <a:bodyPr>
            <a:noAutofit/>
          </a:bodyPr>
          <a:lstStyle>
            <a:lvl1pPr>
              <a:spcAft>
                <a:spcPts val="0"/>
              </a:spcAft>
              <a:defRPr sz="105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按一下以編輯母片文字樣式</a:t>
            </a:r>
          </a:p>
        </p:txBody>
      </p:sp>
      <p:grpSp>
        <p:nvGrpSpPr>
          <p:cNvPr id="4" name="群組 3"/>
          <p:cNvGrpSpPr/>
          <p:nvPr userDrawn="1"/>
        </p:nvGrpSpPr>
        <p:grpSpPr>
          <a:xfrm>
            <a:off x="475329" y="454400"/>
            <a:ext cx="1624863" cy="303614"/>
            <a:chOff x="475329" y="454400"/>
            <a:chExt cx="1624863" cy="303614"/>
          </a:xfrm>
        </p:grpSpPr>
        <p:sp>
          <p:nvSpPr>
            <p:cNvPr id="39" name="Freeform 36"/>
            <p:cNvSpPr>
              <a:spLocks/>
            </p:cNvSpPr>
            <p:nvPr/>
          </p:nvSpPr>
          <p:spPr bwMode="auto">
            <a:xfrm>
              <a:off x="2015130" y="671090"/>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38"/>
            <p:cNvSpPr>
              <a:spLocks noEditPoints="1"/>
            </p:cNvSpPr>
            <p:nvPr/>
          </p:nvSpPr>
          <p:spPr bwMode="auto">
            <a:xfrm>
              <a:off x="475329" y="455642"/>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Rectangle 41"/>
            <p:cNvSpPr>
              <a:spLocks noChangeArrowheads="1"/>
            </p:cNvSpPr>
            <p:nvPr/>
          </p:nvSpPr>
          <p:spPr bwMode="auto">
            <a:xfrm>
              <a:off x="982594" y="454400"/>
              <a:ext cx="75127" cy="29864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42"/>
            <p:cNvSpPr>
              <a:spLocks noEditPoints="1"/>
            </p:cNvSpPr>
            <p:nvPr/>
          </p:nvSpPr>
          <p:spPr bwMode="auto">
            <a:xfrm>
              <a:off x="1086903" y="527044"/>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Rectangle 45"/>
            <p:cNvSpPr>
              <a:spLocks noChangeArrowheads="1"/>
            </p:cNvSpPr>
            <p:nvPr/>
          </p:nvSpPr>
          <p:spPr bwMode="auto">
            <a:xfrm>
              <a:off x="1332775" y="530769"/>
              <a:ext cx="75127" cy="22227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6"/>
            <p:cNvSpPr>
              <a:spLocks noChangeArrowheads="1"/>
            </p:cNvSpPr>
            <p:nvPr/>
          </p:nvSpPr>
          <p:spPr bwMode="auto">
            <a:xfrm>
              <a:off x="1332775" y="454400"/>
              <a:ext cx="75127" cy="49671"/>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47"/>
            <p:cNvSpPr>
              <a:spLocks/>
            </p:cNvSpPr>
            <p:nvPr/>
          </p:nvSpPr>
          <p:spPr bwMode="auto">
            <a:xfrm>
              <a:off x="1437705"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9"/>
            <p:cNvSpPr>
              <a:spLocks/>
            </p:cNvSpPr>
            <p:nvPr/>
          </p:nvSpPr>
          <p:spPr bwMode="auto">
            <a:xfrm>
              <a:off x="1610933"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51"/>
            <p:cNvSpPr>
              <a:spLocks noEditPoints="1"/>
            </p:cNvSpPr>
            <p:nvPr/>
          </p:nvSpPr>
          <p:spPr bwMode="auto">
            <a:xfrm>
              <a:off x="178602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4"/>
            <p:cNvSpPr>
              <a:spLocks noEditPoints="1"/>
            </p:cNvSpPr>
            <p:nvPr/>
          </p:nvSpPr>
          <p:spPr bwMode="auto">
            <a:xfrm>
              <a:off x="74417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49"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50"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1"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2"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3"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4"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5"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6"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36" name="群組 35"/>
          <p:cNvGrpSpPr/>
          <p:nvPr userDrawn="1"/>
        </p:nvGrpSpPr>
        <p:grpSpPr>
          <a:xfrm>
            <a:off x="10444934" y="451571"/>
            <a:ext cx="1277166" cy="298647"/>
            <a:chOff x="463716" y="867128"/>
            <a:chExt cx="1277166" cy="298647"/>
          </a:xfrm>
          <a:solidFill>
            <a:schemeClr val="tx1"/>
          </a:solidFill>
        </p:grpSpPr>
        <p:sp>
          <p:nvSpPr>
            <p:cNvPr id="37"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58"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9"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0"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1"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2"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3"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4"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5"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6"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7"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27230259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首頁_黑底圖片_CO-BRAND">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4368800"/>
            <a:ext cx="5592011" cy="1982031"/>
          </a:xfrm>
          <a:prstGeom prst="rect">
            <a:avLst/>
          </a:prstGeom>
        </p:spPr>
        <p:txBody>
          <a:bodyPr lIns="0" tIns="0" rIns="0" bIns="0" anchor="b" anchorCtr="0">
            <a:noAutofit/>
          </a:bodyPr>
          <a:lstStyle>
            <a:lvl1pPr marL="0" indent="0" algn="l">
              <a:lnSpc>
                <a:spcPct val="100000"/>
              </a:lnSpc>
              <a:spcAft>
                <a:spcPts val="0"/>
              </a:spcAft>
              <a:buNone/>
              <a:defRPr sz="1800" b="0">
                <a:solidFill>
                  <a:srgbClr val="86BC25"/>
                </a:solidFill>
                <a:latin typeface="Calibri" panose="020F0502020204030204" pitchFamily="34" charset="0"/>
                <a:ea typeface="+mj-ea"/>
                <a:cs typeface="Calibri" panose="020F0502020204030204" pitchFamily="34" charset="0"/>
              </a:defRPr>
            </a:lvl1pPr>
            <a:lvl2pPr marL="0" indent="0" algn="l">
              <a:buNone/>
              <a:defRPr sz="1800" b="0">
                <a:solidFill>
                  <a:schemeClr val="bg1"/>
                </a:solidFill>
                <a:latin typeface="Calibri" panose="020F0502020204030204" pitchFamily="34" charset="0"/>
                <a:ea typeface="+mj-ea"/>
                <a:cs typeface="Calibri" panose="020F0502020204030204" pitchFamily="34" charset="0"/>
              </a:defRPr>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705"/>
            <a:ext cx="5594349" cy="298451"/>
          </a:xfrm>
          <a:prstGeom prst="rect">
            <a:avLst/>
          </a:prstGeom>
        </p:spPr>
        <p:txBody>
          <a:bodyPr/>
          <a:lstStyle>
            <a:lvl1pPr>
              <a:spcAft>
                <a:spcPts val="0"/>
              </a:spcAft>
              <a:defRPr sz="105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按一下以編輯母片文字樣式</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zh-TW" altLang="en-US" noProof="0"/>
              <a:t>按一下圖示以新增圖片</a:t>
            </a:r>
            <a:endParaRPr lang="en-US" noProof="0" dirty="0"/>
          </a:p>
        </p:txBody>
      </p:sp>
      <p:grpSp>
        <p:nvGrpSpPr>
          <p:cNvPr id="16" name="群組 15"/>
          <p:cNvGrpSpPr/>
          <p:nvPr userDrawn="1"/>
        </p:nvGrpSpPr>
        <p:grpSpPr>
          <a:xfrm>
            <a:off x="462474" y="460447"/>
            <a:ext cx="1624863" cy="705328"/>
            <a:chOff x="4927725" y="1160266"/>
            <a:chExt cx="3981923" cy="1728492"/>
          </a:xfrm>
        </p:grpSpPr>
        <p:sp>
          <p:nvSpPr>
            <p:cNvPr id="17" name="Freeform 6"/>
            <p:cNvSpPr>
              <a:spLocks noEditPoints="1"/>
            </p:cNvSpPr>
            <p:nvPr/>
          </p:nvSpPr>
          <p:spPr bwMode="auto">
            <a:xfrm>
              <a:off x="4930768" y="2156888"/>
              <a:ext cx="704482" cy="725784"/>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8" name="Freeform 11"/>
            <p:cNvSpPr>
              <a:spLocks noEditPoints="1"/>
            </p:cNvSpPr>
            <p:nvPr/>
          </p:nvSpPr>
          <p:spPr bwMode="auto">
            <a:xfrm>
              <a:off x="5731109" y="2156888"/>
              <a:ext cx="728827" cy="730349"/>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9" name="Freeform 15"/>
            <p:cNvSpPr>
              <a:spLocks/>
            </p:cNvSpPr>
            <p:nvPr/>
          </p:nvSpPr>
          <p:spPr bwMode="auto">
            <a:xfrm>
              <a:off x="6537536" y="2429247"/>
              <a:ext cx="693831" cy="459511"/>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0" name="Freeform 16"/>
            <p:cNvSpPr>
              <a:spLocks/>
            </p:cNvSpPr>
            <p:nvPr/>
          </p:nvSpPr>
          <p:spPr bwMode="auto">
            <a:xfrm>
              <a:off x="6946835" y="2538799"/>
              <a:ext cx="313441" cy="324092"/>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1" name="Freeform 18"/>
            <p:cNvSpPr>
              <a:spLocks noEditPoints="1"/>
            </p:cNvSpPr>
            <p:nvPr/>
          </p:nvSpPr>
          <p:spPr bwMode="auto">
            <a:xfrm>
              <a:off x="6574053" y="2185797"/>
              <a:ext cx="645142" cy="229756"/>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4" name="Freeform 23"/>
            <p:cNvSpPr>
              <a:spLocks/>
            </p:cNvSpPr>
            <p:nvPr/>
          </p:nvSpPr>
          <p:spPr bwMode="auto">
            <a:xfrm>
              <a:off x="7585891" y="2196448"/>
              <a:ext cx="435166" cy="63906"/>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5" name="Freeform 25"/>
            <p:cNvSpPr>
              <a:spLocks/>
            </p:cNvSpPr>
            <p:nvPr/>
          </p:nvSpPr>
          <p:spPr bwMode="auto">
            <a:xfrm>
              <a:off x="7555459" y="2316651"/>
              <a:ext cx="505158" cy="71513"/>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6" name="Freeform 27"/>
            <p:cNvSpPr>
              <a:spLocks/>
            </p:cNvSpPr>
            <p:nvPr/>
          </p:nvSpPr>
          <p:spPr bwMode="auto">
            <a:xfrm>
              <a:off x="7333312" y="2164495"/>
              <a:ext cx="223669" cy="721219"/>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7" name="Freeform 30"/>
            <p:cNvSpPr>
              <a:spLocks/>
            </p:cNvSpPr>
            <p:nvPr/>
          </p:nvSpPr>
          <p:spPr bwMode="auto">
            <a:xfrm>
              <a:off x="7579804" y="2435333"/>
              <a:ext cx="447339" cy="63906"/>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8" name="Freeform 31"/>
            <p:cNvSpPr>
              <a:spLocks/>
            </p:cNvSpPr>
            <p:nvPr/>
          </p:nvSpPr>
          <p:spPr bwMode="auto">
            <a:xfrm>
              <a:off x="7579804" y="2544885"/>
              <a:ext cx="447339" cy="65427"/>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9" name="Freeform 33"/>
            <p:cNvSpPr>
              <a:spLocks noEditPoints="1"/>
            </p:cNvSpPr>
            <p:nvPr/>
          </p:nvSpPr>
          <p:spPr bwMode="auto">
            <a:xfrm>
              <a:off x="7585891" y="2659002"/>
              <a:ext cx="435166" cy="217583"/>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36"/>
            <p:cNvSpPr>
              <a:spLocks/>
            </p:cNvSpPr>
            <p:nvPr/>
          </p:nvSpPr>
          <p:spPr bwMode="auto">
            <a:xfrm>
              <a:off x="8701194" y="1691290"/>
              <a:ext cx="208454" cy="213018"/>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38"/>
            <p:cNvSpPr>
              <a:spLocks noEditPoints="1"/>
            </p:cNvSpPr>
            <p:nvPr/>
          </p:nvSpPr>
          <p:spPr bwMode="auto">
            <a:xfrm>
              <a:off x="4927725" y="1163309"/>
              <a:ext cx="604059" cy="728827"/>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Rectangle 41"/>
            <p:cNvSpPr>
              <a:spLocks noChangeArrowheads="1"/>
            </p:cNvSpPr>
            <p:nvPr/>
          </p:nvSpPr>
          <p:spPr bwMode="auto">
            <a:xfrm>
              <a:off x="6170840" y="1160266"/>
              <a:ext cx="184109" cy="731870"/>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42"/>
            <p:cNvSpPr>
              <a:spLocks noEditPoints="1"/>
            </p:cNvSpPr>
            <p:nvPr/>
          </p:nvSpPr>
          <p:spPr bwMode="auto">
            <a:xfrm>
              <a:off x="6426462" y="1338288"/>
              <a:ext cx="529503" cy="56449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5"/>
            <p:cNvSpPr>
              <a:spLocks noChangeArrowheads="1"/>
            </p:cNvSpPr>
            <p:nvPr/>
          </p:nvSpPr>
          <p:spPr bwMode="auto">
            <a:xfrm>
              <a:off x="7029000" y="1347418"/>
              <a:ext cx="184109" cy="544718"/>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Rectangle 46"/>
            <p:cNvSpPr>
              <a:spLocks noChangeArrowheads="1"/>
            </p:cNvSpPr>
            <p:nvPr/>
          </p:nvSpPr>
          <p:spPr bwMode="auto">
            <a:xfrm>
              <a:off x="7029000" y="1160266"/>
              <a:ext cx="184109" cy="121725"/>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7"/>
            <p:cNvSpPr>
              <a:spLocks/>
            </p:cNvSpPr>
            <p:nvPr/>
          </p:nvSpPr>
          <p:spPr bwMode="auto">
            <a:xfrm>
              <a:off x="7286143"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49"/>
            <p:cNvSpPr>
              <a:spLocks/>
            </p:cNvSpPr>
            <p:nvPr/>
          </p:nvSpPr>
          <p:spPr bwMode="auto">
            <a:xfrm>
              <a:off x="7710659"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1"/>
            <p:cNvSpPr>
              <a:spLocks noEditPoints="1"/>
            </p:cNvSpPr>
            <p:nvPr/>
          </p:nvSpPr>
          <p:spPr bwMode="auto">
            <a:xfrm>
              <a:off x="8139739"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54"/>
            <p:cNvSpPr>
              <a:spLocks noEditPoints="1"/>
            </p:cNvSpPr>
            <p:nvPr/>
          </p:nvSpPr>
          <p:spPr bwMode="auto">
            <a:xfrm>
              <a:off x="5586560"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cxnSp>
        <p:nvCxnSpPr>
          <p:cNvPr id="32" name="直線接點 31"/>
          <p:cNvCxnSpPr/>
          <p:nvPr userDrawn="1"/>
        </p:nvCxnSpPr>
        <p:spPr>
          <a:xfrm>
            <a:off x="24926928" y="6299200"/>
            <a:ext cx="542925" cy="0"/>
          </a:xfrm>
          <a:prstGeom prst="line">
            <a:avLst/>
          </a:prstGeom>
          <a:ln/>
        </p:spPr>
        <p:style>
          <a:lnRef idx="1">
            <a:schemeClr val="dk1"/>
          </a:lnRef>
          <a:fillRef idx="0">
            <a:schemeClr val="dk1"/>
          </a:fillRef>
          <a:effectRef idx="0">
            <a:schemeClr val="dk1"/>
          </a:effectRef>
          <a:fontRef idx="minor">
            <a:schemeClr val="tx1"/>
          </a:fontRef>
        </p:style>
      </p:cxnSp>
      <p:sp>
        <p:nvSpPr>
          <p:cNvPr id="68"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69"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1"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2"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3"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4"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5"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86"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
        <p:nvSpPr>
          <p:cNvPr id="50" name="Picture Placeholder 8"/>
          <p:cNvSpPr>
            <a:spLocks noGrp="1"/>
          </p:cNvSpPr>
          <p:nvPr>
            <p:ph type="pic" sz="quarter" idx="12" hasCustomPrompt="1"/>
          </p:nvPr>
        </p:nvSpPr>
        <p:spPr>
          <a:xfrm>
            <a:off x="10205025" y="468645"/>
            <a:ext cx="1517075" cy="492858"/>
          </a:xfrm>
          <a:prstGeom prst="rect">
            <a:avLst/>
          </a:prstGeom>
        </p:spPr>
        <p:txBody>
          <a:bodyPr/>
          <a:lstStyle>
            <a:lvl1pPr>
              <a:defRPr b="1" baseline="0">
                <a:solidFill>
                  <a:schemeClr val="bg1"/>
                </a:solidFill>
                <a:latin typeface="Calibri" panose="020F0502020204030204" pitchFamily="34" charset="0"/>
                <a:cs typeface="Calibri" panose="020F0502020204030204" pitchFamily="34" charset="0"/>
              </a:defRPr>
            </a:lvl1pPr>
          </a:lstStyle>
          <a:p>
            <a:r>
              <a:rPr lang="en-US" noProof="0" dirty="0"/>
              <a:t>Co-brand logo here</a:t>
            </a:r>
          </a:p>
          <a:p>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6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首頁_白底圖片_COBRAND">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4868334"/>
            <a:ext cx="5594348" cy="1482498"/>
          </a:xfrm>
          <a:prstGeom prst="rect">
            <a:avLst/>
          </a:prstGeom>
        </p:spPr>
        <p:txBody>
          <a:bodyPr lIns="0" tIns="0" rIns="0" bIns="0" anchor="b" anchorCtr="0">
            <a:noAutofit/>
          </a:bodyPr>
          <a:lstStyle>
            <a:lvl1pPr marL="0" indent="0" algn="l">
              <a:lnSpc>
                <a:spcPct val="100000"/>
              </a:lnSpc>
              <a:spcAft>
                <a:spcPts val="0"/>
              </a:spcAft>
              <a:buNone/>
              <a:defRPr sz="1800" b="0">
                <a:solidFill>
                  <a:srgbClr val="86BC25"/>
                </a:solidFill>
                <a:latin typeface="Calibri" panose="020F0502020204030204" pitchFamily="34" charset="0"/>
                <a:ea typeface="+mj-ea"/>
                <a:cs typeface="Calibri" panose="020F0502020204030204" pitchFamily="34" charset="0"/>
              </a:defRPr>
            </a:lvl1pPr>
            <a:lvl2pPr marL="0" indent="0" algn="l">
              <a:buNone/>
              <a:defRPr sz="1800" b="0">
                <a:latin typeface="Calibri" panose="020F0502020204030204" pitchFamily="34" charset="0"/>
                <a:ea typeface="+mj-ea"/>
                <a:cs typeface="Calibri" panose="020F0502020204030204" pitchFamily="34" charset="0"/>
              </a:defRPr>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705"/>
            <a:ext cx="5594349" cy="298451"/>
          </a:xfrm>
          <a:prstGeom prst="rect">
            <a:avLst/>
          </a:prstGeom>
        </p:spPr>
        <p:txBody>
          <a:bodyPr>
            <a:noAutofit/>
          </a:bodyPr>
          <a:lstStyle>
            <a:lvl1pPr>
              <a:spcAft>
                <a:spcPts val="0"/>
              </a:spcAft>
              <a:defRPr sz="105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按一下以編輯母片文字樣式</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zh-TW" altLang="en-US" noProof="0"/>
              <a:t>按一下圖示以新增圖片</a:t>
            </a:r>
            <a:endParaRPr lang="en-US" noProof="0" dirty="0"/>
          </a:p>
        </p:txBody>
      </p:sp>
      <p:grpSp>
        <p:nvGrpSpPr>
          <p:cNvPr id="16" name="群組 15"/>
          <p:cNvGrpSpPr/>
          <p:nvPr userDrawn="1"/>
        </p:nvGrpSpPr>
        <p:grpSpPr>
          <a:xfrm>
            <a:off x="475329" y="454400"/>
            <a:ext cx="1624863" cy="705328"/>
            <a:chOff x="4927725" y="1160266"/>
            <a:chExt cx="3981923" cy="1728492"/>
          </a:xfrm>
        </p:grpSpPr>
        <p:sp>
          <p:nvSpPr>
            <p:cNvPr id="17" name="Freeform 6"/>
            <p:cNvSpPr>
              <a:spLocks noEditPoints="1"/>
            </p:cNvSpPr>
            <p:nvPr/>
          </p:nvSpPr>
          <p:spPr bwMode="auto">
            <a:xfrm>
              <a:off x="4930768" y="2156888"/>
              <a:ext cx="704482" cy="725784"/>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8" name="Freeform 11"/>
            <p:cNvSpPr>
              <a:spLocks noEditPoints="1"/>
            </p:cNvSpPr>
            <p:nvPr/>
          </p:nvSpPr>
          <p:spPr bwMode="auto">
            <a:xfrm>
              <a:off x="5731109" y="2156888"/>
              <a:ext cx="728827" cy="730349"/>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1" name="Freeform 15"/>
            <p:cNvSpPr>
              <a:spLocks/>
            </p:cNvSpPr>
            <p:nvPr/>
          </p:nvSpPr>
          <p:spPr bwMode="auto">
            <a:xfrm>
              <a:off x="6537536" y="2429247"/>
              <a:ext cx="693831" cy="459511"/>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2" name="Freeform 16"/>
            <p:cNvSpPr>
              <a:spLocks/>
            </p:cNvSpPr>
            <p:nvPr/>
          </p:nvSpPr>
          <p:spPr bwMode="auto">
            <a:xfrm>
              <a:off x="6946835" y="2538799"/>
              <a:ext cx="313441" cy="324092"/>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3" name="Freeform 18"/>
            <p:cNvSpPr>
              <a:spLocks noEditPoints="1"/>
            </p:cNvSpPr>
            <p:nvPr/>
          </p:nvSpPr>
          <p:spPr bwMode="auto">
            <a:xfrm>
              <a:off x="6574053" y="2185797"/>
              <a:ext cx="645142" cy="229756"/>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4" name="Freeform 23"/>
            <p:cNvSpPr>
              <a:spLocks/>
            </p:cNvSpPr>
            <p:nvPr/>
          </p:nvSpPr>
          <p:spPr bwMode="auto">
            <a:xfrm>
              <a:off x="7585891" y="2196448"/>
              <a:ext cx="435166" cy="63906"/>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5" name="Freeform 25"/>
            <p:cNvSpPr>
              <a:spLocks/>
            </p:cNvSpPr>
            <p:nvPr/>
          </p:nvSpPr>
          <p:spPr bwMode="auto">
            <a:xfrm>
              <a:off x="7555459" y="2316651"/>
              <a:ext cx="505158" cy="71513"/>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6" name="Freeform 27"/>
            <p:cNvSpPr>
              <a:spLocks/>
            </p:cNvSpPr>
            <p:nvPr/>
          </p:nvSpPr>
          <p:spPr bwMode="auto">
            <a:xfrm>
              <a:off x="7333312" y="2164495"/>
              <a:ext cx="223669" cy="721219"/>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7" name="Freeform 30"/>
            <p:cNvSpPr>
              <a:spLocks/>
            </p:cNvSpPr>
            <p:nvPr/>
          </p:nvSpPr>
          <p:spPr bwMode="auto">
            <a:xfrm>
              <a:off x="7579804" y="2435333"/>
              <a:ext cx="447339" cy="63906"/>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8" name="Freeform 31"/>
            <p:cNvSpPr>
              <a:spLocks/>
            </p:cNvSpPr>
            <p:nvPr/>
          </p:nvSpPr>
          <p:spPr bwMode="auto">
            <a:xfrm>
              <a:off x="7579804" y="2544885"/>
              <a:ext cx="447339" cy="65427"/>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9" name="Freeform 33"/>
            <p:cNvSpPr>
              <a:spLocks noEditPoints="1"/>
            </p:cNvSpPr>
            <p:nvPr/>
          </p:nvSpPr>
          <p:spPr bwMode="auto">
            <a:xfrm>
              <a:off x="7585891" y="2659002"/>
              <a:ext cx="435166" cy="217583"/>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36"/>
            <p:cNvSpPr>
              <a:spLocks/>
            </p:cNvSpPr>
            <p:nvPr/>
          </p:nvSpPr>
          <p:spPr bwMode="auto">
            <a:xfrm>
              <a:off x="8701194" y="1691290"/>
              <a:ext cx="208454" cy="213018"/>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38"/>
            <p:cNvSpPr>
              <a:spLocks noEditPoints="1"/>
            </p:cNvSpPr>
            <p:nvPr/>
          </p:nvSpPr>
          <p:spPr bwMode="auto">
            <a:xfrm>
              <a:off x="4927725" y="1163309"/>
              <a:ext cx="604059" cy="728827"/>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Rectangle 41"/>
            <p:cNvSpPr>
              <a:spLocks noChangeArrowheads="1"/>
            </p:cNvSpPr>
            <p:nvPr/>
          </p:nvSpPr>
          <p:spPr bwMode="auto">
            <a:xfrm>
              <a:off x="6170840" y="1160266"/>
              <a:ext cx="184109" cy="731870"/>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42"/>
            <p:cNvSpPr>
              <a:spLocks noEditPoints="1"/>
            </p:cNvSpPr>
            <p:nvPr/>
          </p:nvSpPr>
          <p:spPr bwMode="auto">
            <a:xfrm>
              <a:off x="6426462" y="1338288"/>
              <a:ext cx="529503" cy="56449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5"/>
            <p:cNvSpPr>
              <a:spLocks noChangeArrowheads="1"/>
            </p:cNvSpPr>
            <p:nvPr/>
          </p:nvSpPr>
          <p:spPr bwMode="auto">
            <a:xfrm>
              <a:off x="7029000" y="1347418"/>
              <a:ext cx="184109" cy="544718"/>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Rectangle 46"/>
            <p:cNvSpPr>
              <a:spLocks noChangeArrowheads="1"/>
            </p:cNvSpPr>
            <p:nvPr/>
          </p:nvSpPr>
          <p:spPr bwMode="auto">
            <a:xfrm>
              <a:off x="7029000" y="1160266"/>
              <a:ext cx="184109" cy="121725"/>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7"/>
            <p:cNvSpPr>
              <a:spLocks/>
            </p:cNvSpPr>
            <p:nvPr/>
          </p:nvSpPr>
          <p:spPr bwMode="auto">
            <a:xfrm>
              <a:off x="7286143"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49"/>
            <p:cNvSpPr>
              <a:spLocks/>
            </p:cNvSpPr>
            <p:nvPr/>
          </p:nvSpPr>
          <p:spPr bwMode="auto">
            <a:xfrm>
              <a:off x="7710659"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1"/>
            <p:cNvSpPr>
              <a:spLocks noEditPoints="1"/>
            </p:cNvSpPr>
            <p:nvPr/>
          </p:nvSpPr>
          <p:spPr bwMode="auto">
            <a:xfrm>
              <a:off x="8139739"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54"/>
            <p:cNvSpPr>
              <a:spLocks noEditPoints="1"/>
            </p:cNvSpPr>
            <p:nvPr/>
          </p:nvSpPr>
          <p:spPr bwMode="auto">
            <a:xfrm>
              <a:off x="5586560"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55"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56"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1"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2"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3"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
        <p:nvSpPr>
          <p:cNvPr id="52" name="Picture Placeholder 8"/>
          <p:cNvSpPr>
            <a:spLocks noGrp="1"/>
          </p:cNvSpPr>
          <p:nvPr>
            <p:ph type="pic" sz="quarter" idx="12" hasCustomPrompt="1"/>
          </p:nvPr>
        </p:nvSpPr>
        <p:spPr>
          <a:xfrm>
            <a:off x="10205025" y="468645"/>
            <a:ext cx="1517075" cy="492858"/>
          </a:xfrm>
          <a:prstGeom prst="rect">
            <a:avLst/>
          </a:prstGeom>
        </p:spPr>
        <p:txBody>
          <a:bodyPr/>
          <a:lstStyle>
            <a:lvl1pPr>
              <a:defRPr b="1" baseline="0">
                <a:solidFill>
                  <a:schemeClr val="tx1"/>
                </a:solidFill>
                <a:latin typeface="Calibri" panose="020F0502020204030204" pitchFamily="34" charset="0"/>
                <a:cs typeface="Calibri" panose="020F0502020204030204" pitchFamily="34" charset="0"/>
              </a:defRPr>
            </a:lvl1pPr>
          </a:lstStyle>
          <a:p>
            <a:r>
              <a:rPr lang="en-US" noProof="0" dirty="0"/>
              <a:t>Co-brand logo here</a:t>
            </a:r>
          </a:p>
          <a:p>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首頁_黑底文字_CO-BRAND">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mj-ea"/>
                <a:cs typeface="Open Sans" panose="020B0606030504020204" pitchFamily="34" charset="0"/>
              </a:defRPr>
            </a:lvl1pPr>
          </a:lstStyle>
          <a:p>
            <a:r>
              <a:rPr lang="zh-TW" altLang="en-US" noProof="0"/>
              <a:t>按一下以編輯母片標題樣式</a:t>
            </a:r>
            <a:endParaRPr lang="en-US" noProof="0" dirty="0"/>
          </a:p>
        </p:txBody>
      </p:sp>
      <p:sp>
        <p:nvSpPr>
          <p:cNvPr id="3" name="Subtitle 2"/>
          <p:cNvSpPr>
            <a:spLocks noGrp="1"/>
          </p:cNvSpPr>
          <p:nvPr>
            <p:ph type="subTitle" idx="1"/>
          </p:nvPr>
        </p:nvSpPr>
        <p:spPr bwMode="gray">
          <a:xfrm>
            <a:off x="475201" y="5845186"/>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latin typeface="+mj-lt"/>
              </a:defRPr>
            </a:lvl1pPr>
            <a:lvl2pPr marL="609555" indent="0" algn="ctr">
              <a:buNone/>
              <a:defRPr sz="2667"/>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zh-TW" altLang="en-US" noProof="0"/>
              <a:t>按一下以編輯母片子標題樣式</a:t>
            </a:r>
            <a:endParaRPr lang="en-US" noProof="0" dirty="0"/>
          </a:p>
        </p:txBody>
      </p:sp>
      <p:sp>
        <p:nvSpPr>
          <p:cNvPr id="5" name="Text Placeholder 4"/>
          <p:cNvSpPr>
            <a:spLocks noGrp="1"/>
          </p:cNvSpPr>
          <p:nvPr>
            <p:ph type="body" sz="quarter" idx="10"/>
          </p:nvPr>
        </p:nvSpPr>
        <p:spPr>
          <a:xfrm>
            <a:off x="475200" y="6362705"/>
            <a:ext cx="5594349" cy="298451"/>
          </a:xfrm>
          <a:prstGeom prst="rect">
            <a:avLst/>
          </a:prstGeom>
        </p:spPr>
        <p:txBody>
          <a:bodyPr/>
          <a:lstStyle>
            <a:lvl1pPr>
              <a:spcAft>
                <a:spcPts val="0"/>
              </a:spcAft>
              <a:defRPr sz="105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按一下以編輯母片文字樣式</a:t>
            </a:r>
          </a:p>
        </p:txBody>
      </p:sp>
      <p:grpSp>
        <p:nvGrpSpPr>
          <p:cNvPr id="22" name="群組 21"/>
          <p:cNvGrpSpPr/>
          <p:nvPr userDrawn="1"/>
        </p:nvGrpSpPr>
        <p:grpSpPr>
          <a:xfrm>
            <a:off x="462474" y="460447"/>
            <a:ext cx="1624863" cy="705328"/>
            <a:chOff x="4927725" y="1160266"/>
            <a:chExt cx="3981923" cy="1728492"/>
          </a:xfrm>
        </p:grpSpPr>
        <p:sp>
          <p:nvSpPr>
            <p:cNvPr id="23" name="Freeform 6"/>
            <p:cNvSpPr>
              <a:spLocks noEditPoints="1"/>
            </p:cNvSpPr>
            <p:nvPr/>
          </p:nvSpPr>
          <p:spPr bwMode="auto">
            <a:xfrm>
              <a:off x="4930768" y="2156888"/>
              <a:ext cx="704482" cy="725784"/>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24" name="Freeform 11"/>
            <p:cNvSpPr>
              <a:spLocks noEditPoints="1"/>
            </p:cNvSpPr>
            <p:nvPr/>
          </p:nvSpPr>
          <p:spPr bwMode="auto">
            <a:xfrm>
              <a:off x="5731109" y="2156888"/>
              <a:ext cx="728827" cy="730349"/>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5" name="Freeform 15"/>
            <p:cNvSpPr>
              <a:spLocks/>
            </p:cNvSpPr>
            <p:nvPr/>
          </p:nvSpPr>
          <p:spPr bwMode="auto">
            <a:xfrm>
              <a:off x="6537536" y="2429247"/>
              <a:ext cx="693831" cy="459511"/>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6" name="Freeform 16"/>
            <p:cNvSpPr>
              <a:spLocks/>
            </p:cNvSpPr>
            <p:nvPr/>
          </p:nvSpPr>
          <p:spPr bwMode="auto">
            <a:xfrm>
              <a:off x="6946835" y="2538799"/>
              <a:ext cx="313441" cy="324092"/>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7" name="Freeform 18"/>
            <p:cNvSpPr>
              <a:spLocks noEditPoints="1"/>
            </p:cNvSpPr>
            <p:nvPr/>
          </p:nvSpPr>
          <p:spPr bwMode="auto">
            <a:xfrm>
              <a:off x="6574053" y="2185797"/>
              <a:ext cx="645142" cy="229756"/>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8" name="Freeform 23"/>
            <p:cNvSpPr>
              <a:spLocks/>
            </p:cNvSpPr>
            <p:nvPr/>
          </p:nvSpPr>
          <p:spPr bwMode="auto">
            <a:xfrm>
              <a:off x="7585891" y="2196448"/>
              <a:ext cx="435166" cy="63906"/>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9" name="Freeform 25"/>
            <p:cNvSpPr>
              <a:spLocks/>
            </p:cNvSpPr>
            <p:nvPr/>
          </p:nvSpPr>
          <p:spPr bwMode="auto">
            <a:xfrm>
              <a:off x="7555459" y="2316651"/>
              <a:ext cx="505158" cy="71513"/>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0" name="Freeform 27"/>
            <p:cNvSpPr>
              <a:spLocks/>
            </p:cNvSpPr>
            <p:nvPr/>
          </p:nvSpPr>
          <p:spPr bwMode="auto">
            <a:xfrm>
              <a:off x="7333312" y="2164495"/>
              <a:ext cx="223669" cy="721219"/>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1" name="Freeform 30"/>
            <p:cNvSpPr>
              <a:spLocks/>
            </p:cNvSpPr>
            <p:nvPr/>
          </p:nvSpPr>
          <p:spPr bwMode="auto">
            <a:xfrm>
              <a:off x="7579804" y="2435333"/>
              <a:ext cx="447339" cy="63906"/>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2" name="Freeform 31"/>
            <p:cNvSpPr>
              <a:spLocks/>
            </p:cNvSpPr>
            <p:nvPr/>
          </p:nvSpPr>
          <p:spPr bwMode="auto">
            <a:xfrm>
              <a:off x="7579804" y="2544885"/>
              <a:ext cx="447339" cy="65427"/>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8" name="Freeform 33"/>
            <p:cNvSpPr>
              <a:spLocks noEditPoints="1"/>
            </p:cNvSpPr>
            <p:nvPr/>
          </p:nvSpPr>
          <p:spPr bwMode="auto">
            <a:xfrm>
              <a:off x="7585891" y="2659002"/>
              <a:ext cx="435166" cy="217583"/>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9" name="Freeform 36"/>
            <p:cNvSpPr>
              <a:spLocks/>
            </p:cNvSpPr>
            <p:nvPr/>
          </p:nvSpPr>
          <p:spPr bwMode="auto">
            <a:xfrm>
              <a:off x="8701194" y="1691290"/>
              <a:ext cx="208454" cy="213018"/>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38"/>
            <p:cNvSpPr>
              <a:spLocks noEditPoints="1"/>
            </p:cNvSpPr>
            <p:nvPr/>
          </p:nvSpPr>
          <p:spPr bwMode="auto">
            <a:xfrm>
              <a:off x="4927725" y="1163309"/>
              <a:ext cx="604059" cy="728827"/>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Rectangle 41"/>
            <p:cNvSpPr>
              <a:spLocks noChangeArrowheads="1"/>
            </p:cNvSpPr>
            <p:nvPr/>
          </p:nvSpPr>
          <p:spPr bwMode="auto">
            <a:xfrm>
              <a:off x="6170840" y="1160266"/>
              <a:ext cx="184109" cy="731870"/>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42"/>
            <p:cNvSpPr>
              <a:spLocks noEditPoints="1"/>
            </p:cNvSpPr>
            <p:nvPr/>
          </p:nvSpPr>
          <p:spPr bwMode="auto">
            <a:xfrm>
              <a:off x="6426462" y="1338288"/>
              <a:ext cx="529503" cy="56449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Rectangle 45"/>
            <p:cNvSpPr>
              <a:spLocks noChangeArrowheads="1"/>
            </p:cNvSpPr>
            <p:nvPr/>
          </p:nvSpPr>
          <p:spPr bwMode="auto">
            <a:xfrm>
              <a:off x="7029000" y="1347418"/>
              <a:ext cx="184109" cy="544718"/>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6"/>
            <p:cNvSpPr>
              <a:spLocks noChangeArrowheads="1"/>
            </p:cNvSpPr>
            <p:nvPr/>
          </p:nvSpPr>
          <p:spPr bwMode="auto">
            <a:xfrm>
              <a:off x="7029000" y="1160266"/>
              <a:ext cx="184109" cy="121725"/>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47"/>
            <p:cNvSpPr>
              <a:spLocks/>
            </p:cNvSpPr>
            <p:nvPr/>
          </p:nvSpPr>
          <p:spPr bwMode="auto">
            <a:xfrm>
              <a:off x="7286143"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9"/>
            <p:cNvSpPr>
              <a:spLocks/>
            </p:cNvSpPr>
            <p:nvPr/>
          </p:nvSpPr>
          <p:spPr bwMode="auto">
            <a:xfrm>
              <a:off x="7710659"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51"/>
            <p:cNvSpPr>
              <a:spLocks noEditPoints="1"/>
            </p:cNvSpPr>
            <p:nvPr/>
          </p:nvSpPr>
          <p:spPr bwMode="auto">
            <a:xfrm>
              <a:off x="8139739"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4"/>
            <p:cNvSpPr>
              <a:spLocks noEditPoints="1"/>
            </p:cNvSpPr>
            <p:nvPr/>
          </p:nvSpPr>
          <p:spPr bwMode="auto">
            <a:xfrm>
              <a:off x="5586560"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5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5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
        <p:nvSpPr>
          <p:cNvPr id="37" name="Picture Placeholder 8"/>
          <p:cNvSpPr>
            <a:spLocks noGrp="1"/>
          </p:cNvSpPr>
          <p:nvPr>
            <p:ph type="pic" sz="quarter" idx="12" hasCustomPrompt="1"/>
          </p:nvPr>
        </p:nvSpPr>
        <p:spPr>
          <a:xfrm>
            <a:off x="10205025" y="468645"/>
            <a:ext cx="1517075" cy="492858"/>
          </a:xfrm>
          <a:prstGeom prst="rect">
            <a:avLst/>
          </a:prstGeom>
        </p:spPr>
        <p:txBody>
          <a:bodyPr/>
          <a:lstStyle>
            <a:lvl1pPr>
              <a:defRPr b="1" baseline="0">
                <a:solidFill>
                  <a:schemeClr val="bg1"/>
                </a:solidFill>
                <a:latin typeface="Calibri" panose="020F0502020204030204" pitchFamily="34" charset="0"/>
                <a:cs typeface="Calibri" panose="020F0502020204030204" pitchFamily="34" charset="0"/>
              </a:defRPr>
            </a:lvl1pPr>
          </a:lstStyle>
          <a:p>
            <a:r>
              <a:rPr lang="en-US" noProof="0" dirty="0"/>
              <a:t>Co-brand logo here</a:t>
            </a:r>
          </a:p>
          <a:p>
            <a:endParaRPr lang="en-US" noProof="0" dirty="0"/>
          </a:p>
        </p:txBody>
      </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首頁_白底文字_CO-BRAND">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mj-ea"/>
                <a:cs typeface="Open Sans" panose="020B0606030504020204" pitchFamily="34" charset="0"/>
              </a:defRPr>
            </a:lvl1pPr>
          </a:lstStyle>
          <a:p>
            <a:r>
              <a:rPr lang="zh-TW" altLang="en-US" noProof="0"/>
              <a:t>按一下以編輯母片標題樣式</a:t>
            </a:r>
            <a:endParaRPr lang="en-US" noProof="0" dirty="0"/>
          </a:p>
        </p:txBody>
      </p:sp>
      <p:sp>
        <p:nvSpPr>
          <p:cNvPr id="3" name="Subtitle 2"/>
          <p:cNvSpPr>
            <a:spLocks noGrp="1"/>
          </p:cNvSpPr>
          <p:nvPr>
            <p:ph type="subTitle" idx="1"/>
          </p:nvPr>
        </p:nvSpPr>
        <p:spPr bwMode="gray">
          <a:xfrm>
            <a:off x="475327" y="5845186"/>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latin typeface="+mj-lt"/>
              </a:defRPr>
            </a:lvl1pPr>
            <a:lvl2pPr marL="609555" indent="0" algn="ctr">
              <a:buNone/>
              <a:defRPr sz="2667"/>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zh-TW" altLang="en-US" noProof="0"/>
              <a:t>按一下以編輯母片子標題樣式</a:t>
            </a:r>
            <a:endParaRPr lang="en-US" noProof="0" dirty="0"/>
          </a:p>
        </p:txBody>
      </p:sp>
      <p:sp>
        <p:nvSpPr>
          <p:cNvPr id="5" name="Text Placeholder 4"/>
          <p:cNvSpPr>
            <a:spLocks noGrp="1"/>
          </p:cNvSpPr>
          <p:nvPr>
            <p:ph type="body" sz="quarter" idx="10"/>
          </p:nvPr>
        </p:nvSpPr>
        <p:spPr>
          <a:xfrm>
            <a:off x="475325" y="6362705"/>
            <a:ext cx="5594349" cy="298451"/>
          </a:xfrm>
          <a:prstGeom prst="rect">
            <a:avLst/>
          </a:prstGeom>
        </p:spPr>
        <p:txBody>
          <a:bodyPr>
            <a:noAutofit/>
          </a:bodyPr>
          <a:lstStyle>
            <a:lvl1pPr>
              <a:spcAft>
                <a:spcPts val="0"/>
              </a:spcAft>
              <a:defRPr sz="105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按一下以編輯母片文字樣式</a:t>
            </a:r>
          </a:p>
        </p:txBody>
      </p:sp>
      <p:grpSp>
        <p:nvGrpSpPr>
          <p:cNvPr id="19" name="群組 18"/>
          <p:cNvGrpSpPr/>
          <p:nvPr userDrawn="1"/>
        </p:nvGrpSpPr>
        <p:grpSpPr>
          <a:xfrm>
            <a:off x="475329" y="454400"/>
            <a:ext cx="1624863" cy="705328"/>
            <a:chOff x="4927725" y="1160266"/>
            <a:chExt cx="3981923" cy="1728492"/>
          </a:xfrm>
        </p:grpSpPr>
        <p:sp>
          <p:nvSpPr>
            <p:cNvPr id="20" name="Freeform 6"/>
            <p:cNvSpPr>
              <a:spLocks noEditPoints="1"/>
            </p:cNvSpPr>
            <p:nvPr/>
          </p:nvSpPr>
          <p:spPr bwMode="auto">
            <a:xfrm>
              <a:off x="4930768" y="2156888"/>
              <a:ext cx="704482" cy="725784"/>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21" name="Freeform 11"/>
            <p:cNvSpPr>
              <a:spLocks noEditPoints="1"/>
            </p:cNvSpPr>
            <p:nvPr/>
          </p:nvSpPr>
          <p:spPr bwMode="auto">
            <a:xfrm>
              <a:off x="5731109" y="2156888"/>
              <a:ext cx="728827" cy="730349"/>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2" name="Freeform 15"/>
            <p:cNvSpPr>
              <a:spLocks/>
            </p:cNvSpPr>
            <p:nvPr/>
          </p:nvSpPr>
          <p:spPr bwMode="auto">
            <a:xfrm>
              <a:off x="6537536" y="2429247"/>
              <a:ext cx="693831" cy="459511"/>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3" name="Freeform 16"/>
            <p:cNvSpPr>
              <a:spLocks/>
            </p:cNvSpPr>
            <p:nvPr/>
          </p:nvSpPr>
          <p:spPr bwMode="auto">
            <a:xfrm>
              <a:off x="6946835" y="2538799"/>
              <a:ext cx="313441" cy="324092"/>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4" name="Freeform 18"/>
            <p:cNvSpPr>
              <a:spLocks noEditPoints="1"/>
            </p:cNvSpPr>
            <p:nvPr/>
          </p:nvSpPr>
          <p:spPr bwMode="auto">
            <a:xfrm>
              <a:off x="6574053" y="2185797"/>
              <a:ext cx="645142" cy="229756"/>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5" name="Freeform 23"/>
            <p:cNvSpPr>
              <a:spLocks/>
            </p:cNvSpPr>
            <p:nvPr/>
          </p:nvSpPr>
          <p:spPr bwMode="auto">
            <a:xfrm>
              <a:off x="7585891" y="2196448"/>
              <a:ext cx="435166" cy="63906"/>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6" name="Freeform 25"/>
            <p:cNvSpPr>
              <a:spLocks/>
            </p:cNvSpPr>
            <p:nvPr/>
          </p:nvSpPr>
          <p:spPr bwMode="auto">
            <a:xfrm>
              <a:off x="7555459" y="2316651"/>
              <a:ext cx="505158" cy="71513"/>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7" name="Freeform 27"/>
            <p:cNvSpPr>
              <a:spLocks/>
            </p:cNvSpPr>
            <p:nvPr/>
          </p:nvSpPr>
          <p:spPr bwMode="auto">
            <a:xfrm>
              <a:off x="7333312" y="2164495"/>
              <a:ext cx="223669" cy="721219"/>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8" name="Freeform 30"/>
            <p:cNvSpPr>
              <a:spLocks/>
            </p:cNvSpPr>
            <p:nvPr/>
          </p:nvSpPr>
          <p:spPr bwMode="auto">
            <a:xfrm>
              <a:off x="7579804" y="2435333"/>
              <a:ext cx="447339" cy="63906"/>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9" name="Freeform 31"/>
            <p:cNvSpPr>
              <a:spLocks/>
            </p:cNvSpPr>
            <p:nvPr/>
          </p:nvSpPr>
          <p:spPr bwMode="auto">
            <a:xfrm>
              <a:off x="7579804" y="2544885"/>
              <a:ext cx="447339" cy="65427"/>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8" name="Freeform 33"/>
            <p:cNvSpPr>
              <a:spLocks noEditPoints="1"/>
            </p:cNvSpPr>
            <p:nvPr/>
          </p:nvSpPr>
          <p:spPr bwMode="auto">
            <a:xfrm>
              <a:off x="7585891" y="2659002"/>
              <a:ext cx="435166" cy="217583"/>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9" name="Freeform 36"/>
            <p:cNvSpPr>
              <a:spLocks/>
            </p:cNvSpPr>
            <p:nvPr/>
          </p:nvSpPr>
          <p:spPr bwMode="auto">
            <a:xfrm>
              <a:off x="8701194" y="1691290"/>
              <a:ext cx="208454" cy="213018"/>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38"/>
            <p:cNvSpPr>
              <a:spLocks noEditPoints="1"/>
            </p:cNvSpPr>
            <p:nvPr/>
          </p:nvSpPr>
          <p:spPr bwMode="auto">
            <a:xfrm>
              <a:off x="4927725" y="1163309"/>
              <a:ext cx="604059" cy="728827"/>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Rectangle 41"/>
            <p:cNvSpPr>
              <a:spLocks noChangeArrowheads="1"/>
            </p:cNvSpPr>
            <p:nvPr/>
          </p:nvSpPr>
          <p:spPr bwMode="auto">
            <a:xfrm>
              <a:off x="6170840" y="1160266"/>
              <a:ext cx="184109" cy="731870"/>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42"/>
            <p:cNvSpPr>
              <a:spLocks noEditPoints="1"/>
            </p:cNvSpPr>
            <p:nvPr/>
          </p:nvSpPr>
          <p:spPr bwMode="auto">
            <a:xfrm>
              <a:off x="6426462" y="1338288"/>
              <a:ext cx="529503" cy="56449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Rectangle 45"/>
            <p:cNvSpPr>
              <a:spLocks noChangeArrowheads="1"/>
            </p:cNvSpPr>
            <p:nvPr/>
          </p:nvSpPr>
          <p:spPr bwMode="auto">
            <a:xfrm>
              <a:off x="7029000" y="1347418"/>
              <a:ext cx="184109" cy="544718"/>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6"/>
            <p:cNvSpPr>
              <a:spLocks noChangeArrowheads="1"/>
            </p:cNvSpPr>
            <p:nvPr/>
          </p:nvSpPr>
          <p:spPr bwMode="auto">
            <a:xfrm>
              <a:off x="7029000" y="1160266"/>
              <a:ext cx="184109" cy="121725"/>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47"/>
            <p:cNvSpPr>
              <a:spLocks/>
            </p:cNvSpPr>
            <p:nvPr/>
          </p:nvSpPr>
          <p:spPr bwMode="auto">
            <a:xfrm>
              <a:off x="7286143"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9"/>
            <p:cNvSpPr>
              <a:spLocks/>
            </p:cNvSpPr>
            <p:nvPr/>
          </p:nvSpPr>
          <p:spPr bwMode="auto">
            <a:xfrm>
              <a:off x="7710659"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51"/>
            <p:cNvSpPr>
              <a:spLocks noEditPoints="1"/>
            </p:cNvSpPr>
            <p:nvPr/>
          </p:nvSpPr>
          <p:spPr bwMode="auto">
            <a:xfrm>
              <a:off x="8139739"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4"/>
            <p:cNvSpPr>
              <a:spLocks noEditPoints="1"/>
            </p:cNvSpPr>
            <p:nvPr/>
          </p:nvSpPr>
          <p:spPr bwMode="auto">
            <a:xfrm>
              <a:off x="5586560"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49"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50"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1"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2"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3"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4"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5"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6"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
        <p:nvSpPr>
          <p:cNvPr id="37" name="Picture Placeholder 8"/>
          <p:cNvSpPr>
            <a:spLocks noGrp="1"/>
          </p:cNvSpPr>
          <p:nvPr>
            <p:ph type="pic" sz="quarter" idx="12" hasCustomPrompt="1"/>
          </p:nvPr>
        </p:nvSpPr>
        <p:spPr>
          <a:xfrm>
            <a:off x="10205025" y="468645"/>
            <a:ext cx="1517075" cy="492858"/>
          </a:xfrm>
          <a:prstGeom prst="rect">
            <a:avLst/>
          </a:prstGeom>
        </p:spPr>
        <p:txBody>
          <a:bodyPr/>
          <a:lstStyle>
            <a:lvl1pPr>
              <a:defRPr b="1" baseline="0">
                <a:solidFill>
                  <a:schemeClr val="tx1"/>
                </a:solidFill>
                <a:latin typeface="Calibri" panose="020F0502020204030204" pitchFamily="34" charset="0"/>
                <a:cs typeface="Calibri" panose="020F0502020204030204" pitchFamily="34" charset="0"/>
              </a:defRPr>
            </a:lvl1pPr>
          </a:lstStyle>
          <a:p>
            <a:r>
              <a:rPr lang="en-US" noProof="0" dirty="0"/>
              <a:t>Co-brand logo here</a:t>
            </a:r>
          </a:p>
          <a:p>
            <a:endParaRPr lang="en-US" noProof="0" dirty="0"/>
          </a:p>
        </p:txBody>
      </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0219"/>
            <a:ext cx="10418233" cy="1592403"/>
          </a:xfrm>
        </p:spPr>
        <p:txBody>
          <a:bodyPr anchor="b"/>
          <a:lstStyle>
            <a:lvl1pPr>
              <a:lnSpc>
                <a:spcPct val="95000"/>
              </a:lnSpc>
              <a:defRPr sz="3700" b="1">
                <a:solidFill>
                  <a:schemeClr val="bg1"/>
                </a:solidFill>
                <a:latin typeface="Calibri" panose="020F0502020204030204" pitchFamily="34" charset="0"/>
                <a:ea typeface="微軟正黑體" panose="020B0604030504040204" pitchFamily="34" charset="-120"/>
                <a:cs typeface="Calibri" panose="020F0502020204030204" pitchFamily="34" charset="0"/>
              </a:defRPr>
            </a:lvl1pPr>
          </a:lstStyle>
          <a:p>
            <a:r>
              <a:rPr lang="zh-TW" altLang="en-US" noProof="0" dirty="0"/>
              <a:t>按一下以編輯母片標題樣式</a:t>
            </a:r>
            <a:endParaRPr lang="en-US" noProof="0" dirty="0"/>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700">
                <a:solidFill>
                  <a:schemeClr val="bg1"/>
                </a:solidFill>
                <a:latin typeface="Calibri" panose="020F0502020204030204" pitchFamily="34" charset="0"/>
                <a:cs typeface="Calibri" panose="020F0502020204030204" pitchFamily="34" charset="0"/>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zh-TW" altLang="en-US" noProof="0"/>
              <a:t>按一下以編輯母片文字樣式</a:t>
            </a:r>
          </a:p>
        </p:txBody>
      </p:sp>
      <p:sp>
        <p:nvSpPr>
          <p:cNvPr id="13" name="TextBox 12"/>
          <p:cNvSpPr txBox="1"/>
          <p:nvPr userDrawn="1"/>
        </p:nvSpPr>
        <p:spPr>
          <a:xfrm>
            <a:off x="469905"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dirty="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14" name="TextBox 13"/>
          <p:cNvSpPr txBox="1"/>
          <p:nvPr userDrawn="1"/>
        </p:nvSpPr>
        <p:spPr>
          <a:xfrm>
            <a:off x="11414129"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dirty="0">
              <a:solidFill>
                <a:schemeClr val="bg1"/>
              </a:solidFill>
            </a:endParaRPr>
          </a:p>
        </p:txBody>
      </p:sp>
      <p:sp>
        <p:nvSpPr>
          <p:cNvPr id="16"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17"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8"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9"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0"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1"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2"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580781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3"/>
            </p:custDataLst>
            <p:extLst>
              <p:ext uri="{D42A27DB-BD31-4B8C-83A1-F6EECF244321}">
                <p14:modId xmlns:p14="http://schemas.microsoft.com/office/powerpoint/2010/main" val="166891810"/>
              </p:ext>
            </p:extLst>
          </p:nvPr>
        </p:nvGraphicFramePr>
        <p:xfrm>
          <a:off x="2119" y="1595"/>
          <a:ext cx="2116" cy="1587"/>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4" name="Object 3" hidden="1"/>
                      <p:cNvPicPr/>
                      <p:nvPr/>
                    </p:nvPicPr>
                    <p:blipFill>
                      <a:blip r:embed="rId35"/>
                      <a:stretch>
                        <a:fillRect/>
                      </a:stretch>
                    </p:blipFill>
                    <p:spPr>
                      <a:xfrm>
                        <a:off x="2119" y="1595"/>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92"/>
            <a:ext cx="11252200" cy="692151"/>
          </a:xfrm>
          <a:prstGeom prst="rect">
            <a:avLst/>
          </a:prstGeom>
        </p:spPr>
        <p:txBody>
          <a:bodyPr vert="horz" lIns="0" tIns="0" rIns="0" bIns="0" rtlCol="0" anchor="t" anchorCtr="0">
            <a:noAutofit/>
          </a:bodyPr>
          <a:lstStyle/>
          <a:p>
            <a:r>
              <a:rPr lang="zh-TW" altLang="en-US" noProof="0" dirty="0"/>
              <a:t>按一下以編輯母片標題樣式</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zh-TW" altLang="en-US" noProof="0" dirty="0"/>
              <a:t>按一下以編輯母片文字樣式  </a:t>
            </a:r>
          </a:p>
          <a:p>
            <a:pPr lvl="1"/>
            <a:r>
              <a:rPr lang="zh-TW" altLang="en-US" noProof="0" dirty="0"/>
              <a:t>第二層</a:t>
            </a:r>
          </a:p>
          <a:p>
            <a:pPr lvl="2"/>
            <a:r>
              <a:rPr lang="zh-TW" altLang="en-US" noProof="0" dirty="0"/>
              <a:t>第三層</a:t>
            </a:r>
          </a:p>
          <a:p>
            <a:pPr lvl="3"/>
            <a:r>
              <a:rPr lang="zh-TW" altLang="en-US" noProof="0" dirty="0"/>
              <a:t>第四層</a:t>
            </a:r>
            <a:endParaRPr lang="en-US" altLang="zh-TW" noProof="0" dirty="0"/>
          </a:p>
          <a:p>
            <a:pPr lvl="3"/>
            <a:r>
              <a:rPr lang="zh-TW" altLang="en-US" noProof="0" dirty="0"/>
              <a:t>第五層</a:t>
            </a:r>
            <a:endParaRPr lang="en-US" noProof="0" dirty="0"/>
          </a:p>
        </p:txBody>
      </p:sp>
      <p:sp>
        <p:nvSpPr>
          <p:cNvPr id="11" name="TextBox 10"/>
          <p:cNvSpPr txBox="1"/>
          <p:nvPr/>
        </p:nvSpPr>
        <p:spPr>
          <a:xfrm>
            <a:off x="469905"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dirty="0">
                <a:solidFill>
                  <a:schemeClr val="tx1"/>
                </a:solidFill>
                <a:latin typeface="微軟正黑體" panose="020B0604030504040204" pitchFamily="34" charset="-120"/>
                <a:ea typeface="微軟正黑體" panose="020B0604030504040204" pitchFamily="34" charset="-120"/>
              </a:rPr>
              <a:t>勤業眾信版權所有 保留一切權利</a:t>
            </a:r>
          </a:p>
        </p:txBody>
      </p:sp>
      <p:sp>
        <p:nvSpPr>
          <p:cNvPr id="12" name="TextBox 11"/>
          <p:cNvSpPr txBox="1"/>
          <p:nvPr/>
        </p:nvSpPr>
        <p:spPr>
          <a:xfrm>
            <a:off x="11410957"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tx1"/>
                </a:solidFill>
              </a:rPr>
              <a:pPr marL="0" indent="0" algn="r">
                <a:spcBef>
                  <a:spcPts val="800"/>
                </a:spcBef>
                <a:buSzPct val="100000"/>
                <a:buFont typeface="Arial"/>
                <a:buNone/>
              </a:pPr>
              <a:t>‹#›</a:t>
            </a:fld>
            <a:endParaRPr lang="en-US" sz="651" noProof="0" dirty="0">
              <a:solidFill>
                <a:schemeClr val="tx1"/>
              </a:solidFill>
            </a:endParaRPr>
          </a:p>
        </p:txBody>
      </p:sp>
      <p:sp>
        <p:nvSpPr>
          <p:cNvPr id="7" name="TextBox 21"/>
          <p:cNvSpPr txBox="1"/>
          <p:nvPr/>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dirty="0">
                <a:ln>
                  <a:noFill/>
                </a:ln>
                <a:solidFill>
                  <a:schemeClr val="bg1">
                    <a:lumMod val="65000"/>
                  </a:schemeClr>
                </a:solidFill>
              </a:rPr>
              <a:t>Grey markers</a:t>
            </a:r>
            <a:r>
              <a:rPr lang="en-US" sz="700" dirty="0">
                <a:ln>
                  <a:noFill/>
                </a:ln>
                <a:solidFill>
                  <a:schemeClr val="bg1">
                    <a:lumMod val="65000"/>
                  </a:schemeClr>
                </a:solidFill>
              </a:rPr>
              <a:t> indicate position of Deloitte Drawing Guides</a:t>
            </a:r>
            <a:endParaRPr lang="en-US" sz="700" baseline="0" noProof="0" dirty="0">
              <a:ln>
                <a:noFill/>
              </a:ln>
              <a:solidFill>
                <a:schemeClr val="bg1">
                  <a:lumMod val="65000"/>
                </a:schemeClr>
              </a:solidFill>
            </a:endParaRPr>
          </a:p>
        </p:txBody>
      </p:sp>
      <p:cxnSp>
        <p:nvCxnSpPr>
          <p:cNvPr id="8" name="Straight Arrow Connector 12"/>
          <p:cNvCxnSpPr/>
          <p:nvPr/>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9" name="Straight Arrow Connector 12"/>
          <p:cNvCxnSpPr/>
          <p:nvPr/>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0" name="Straight Arrow Connector 12"/>
          <p:cNvCxnSpPr/>
          <p:nvPr/>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3" name="Straight Arrow Connector 12"/>
          <p:cNvCxnSpPr/>
          <p:nvPr/>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4" name="Straight Arrow Connector 14"/>
          <p:cNvCxnSpPr/>
          <p:nvPr/>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5" name="Straight Arrow Connector 14"/>
          <p:cNvCxnSpPr/>
          <p:nvPr/>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6" name="Straight Arrow Connector 14"/>
          <p:cNvCxnSpPr/>
          <p:nvPr/>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7" name="Straight Arrow Connector 14"/>
          <p:cNvCxnSpPr/>
          <p:nvPr/>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01" r:id="rId5"/>
    <p:sldLayoutId id="2147483702" r:id="rId6"/>
    <p:sldLayoutId id="2147483755" r:id="rId7"/>
    <p:sldLayoutId id="2147483756" r:id="rId8"/>
    <p:sldLayoutId id="2147483762" r:id="rId9"/>
    <p:sldLayoutId id="2147483703" r:id="rId10"/>
    <p:sldLayoutId id="2147483704" r:id="rId11"/>
    <p:sldLayoutId id="2147483705" r:id="rId12"/>
    <p:sldLayoutId id="2147483706" r:id="rId13"/>
    <p:sldLayoutId id="2147483679" r:id="rId14"/>
    <p:sldLayoutId id="2147483712" r:id="rId15"/>
    <p:sldLayoutId id="2147483678" r:id="rId16"/>
    <p:sldLayoutId id="2147483681" r:id="rId17"/>
    <p:sldLayoutId id="2147483699" r:id="rId18"/>
    <p:sldLayoutId id="2147483695" r:id="rId19"/>
    <p:sldLayoutId id="2147483724" r:id="rId20"/>
    <p:sldLayoutId id="2147483727" r:id="rId21"/>
    <p:sldLayoutId id="2147483698" r:id="rId22"/>
    <p:sldLayoutId id="2147483752" r:id="rId23"/>
    <p:sldLayoutId id="2147483696" r:id="rId24"/>
    <p:sldLayoutId id="2147483763" r:id="rId25"/>
    <p:sldLayoutId id="2147483761" r:id="rId26"/>
    <p:sldLayoutId id="2147483764" r:id="rId27"/>
    <p:sldLayoutId id="2147483765" r:id="rId28"/>
    <p:sldLayoutId id="2147483655" r:id="rId29"/>
    <p:sldLayoutId id="2147483767" r:id="rId30"/>
    <p:sldLayoutId id="2147483768" r:id="rId31"/>
  </p:sldLayoutIdLst>
  <p:transition>
    <p:fade/>
  </p:transition>
  <p:hf hdr="0" dt="0"/>
  <p:txStyles>
    <p:titleStyle>
      <a:lvl1pPr algn="l" defTabSz="1219110" rtl="0" eaLnBrk="1" latinLnBrk="0" hangingPunct="1">
        <a:spcBef>
          <a:spcPct val="0"/>
        </a:spcBef>
        <a:buNone/>
        <a:defRPr sz="2100" kern="1200">
          <a:solidFill>
            <a:schemeClr val="tx1"/>
          </a:solidFill>
          <a:latin typeface="+mj-lt"/>
          <a:ea typeface="微軟正黑體" panose="020B0604030504040204" pitchFamily="34" charset="-120"/>
          <a:cs typeface="+mj-cs"/>
        </a:defRPr>
      </a:lvl1pPr>
    </p:titleStyle>
    <p:bodyStyle>
      <a:lvl1pPr marL="0" indent="0" algn="l" defTabSz="1219110" rtl="0" eaLnBrk="1" latinLnBrk="0" hangingPunct="1">
        <a:spcBef>
          <a:spcPts val="0"/>
        </a:spcBef>
        <a:spcAft>
          <a:spcPts val="1333"/>
        </a:spcAft>
        <a:buSzPct val="100000"/>
        <a:buFont typeface="Arial" panose="020B0604020202020204" pitchFamily="34" charset="0"/>
        <a:buNone/>
        <a:defRPr sz="1300" b="0" kern="1200">
          <a:solidFill>
            <a:schemeClr val="tx1"/>
          </a:solidFill>
          <a:latin typeface="+mj-lt"/>
          <a:ea typeface="微軟正黑體" panose="020B0604030504040204" pitchFamily="34" charset="-120"/>
          <a:cs typeface="+mn-cs"/>
        </a:defRPr>
      </a:lvl1pPr>
      <a:lvl2pPr marL="0" indent="0" algn="l" defTabSz="1219110" rtl="0" eaLnBrk="1" latinLnBrk="0" hangingPunct="1">
        <a:spcBef>
          <a:spcPts val="0"/>
        </a:spcBef>
        <a:spcAft>
          <a:spcPts val="1333"/>
        </a:spcAft>
        <a:buClrTx/>
        <a:buSzPct val="100000"/>
        <a:buFont typeface="Arial"/>
        <a:buNone/>
        <a:defRPr lang="en-US" sz="1300" b="1" kern="1200" dirty="0" smtClean="0">
          <a:solidFill>
            <a:schemeClr val="tx1"/>
          </a:solidFill>
          <a:latin typeface="+mj-lt"/>
          <a:ea typeface="微軟正黑體" panose="020B0604030504040204" pitchFamily="34" charset="-120"/>
          <a:cs typeface="+mn-cs"/>
        </a:defRPr>
      </a:lvl2pPr>
      <a:lvl3pPr marL="235183" indent="-235183" algn="l" defTabSz="1219110" rtl="0" eaLnBrk="1" latinLnBrk="0" hangingPunct="1">
        <a:spcBef>
          <a:spcPts val="0"/>
        </a:spcBef>
        <a:spcAft>
          <a:spcPts val="1333"/>
        </a:spcAft>
        <a:buClrTx/>
        <a:buSzPct val="100000"/>
        <a:buFont typeface="Arial" panose="020B0604020202020204" pitchFamily="34" charset="0"/>
        <a:buChar char="•"/>
        <a:defRPr lang="en-US" sz="1300" kern="1200" dirty="0" smtClean="0">
          <a:solidFill>
            <a:schemeClr val="tx1"/>
          </a:solidFill>
          <a:latin typeface="微軟正黑體" panose="020B0604030504040204" pitchFamily="34" charset="-120"/>
          <a:ea typeface="微軟正黑體" panose="020B0604030504040204" pitchFamily="34" charset="-120"/>
          <a:cs typeface="+mn-cs"/>
        </a:defRPr>
      </a:lvl3pPr>
      <a:lvl4pPr marL="475164" indent="-235183" algn="l" defTabSz="1219110" rtl="0" eaLnBrk="1" latinLnBrk="0" hangingPunct="1">
        <a:spcBef>
          <a:spcPts val="0"/>
        </a:spcBef>
        <a:spcAft>
          <a:spcPts val="1333"/>
        </a:spcAft>
        <a:buClrTx/>
        <a:buSzPct val="100000"/>
        <a:buFont typeface="Verdana" panose="020B0604030504040204" pitchFamily="34" charset="0"/>
        <a:buChar char="−"/>
        <a:defRPr lang="en-US" sz="1300" kern="1200" baseline="0" dirty="0" smtClean="0">
          <a:solidFill>
            <a:schemeClr val="tx1"/>
          </a:solidFill>
          <a:latin typeface="微軟正黑體" panose="020B0604030504040204" pitchFamily="34" charset="-120"/>
          <a:ea typeface="微軟正黑體" panose="020B0604030504040204" pitchFamily="34" charset="-120"/>
          <a:cs typeface="+mn-cs"/>
        </a:defRPr>
      </a:lvl4pPr>
      <a:lvl5pPr marL="710348" indent="-235183" algn="l" defTabSz="1064604"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mj-lt"/>
          <a:ea typeface="微軟正黑體" panose="020B0604030504040204" pitchFamily="34" charset="-120"/>
          <a:cs typeface="+mn-cs"/>
        </a:defRPr>
      </a:lvl5pPr>
      <a:lvl6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48" indent="-235183" algn="l" defTabSz="121911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7" userDrawn="1">
          <p15:clr>
            <a:srgbClr val="F26B43"/>
          </p15:clr>
        </p15:guide>
        <p15:guide id="12" pos="1383"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3">
            <a:extLst>
              <a:ext uri="{FF2B5EF4-FFF2-40B4-BE49-F238E27FC236}">
                <a16:creationId xmlns:a16="http://schemas.microsoft.com/office/drawing/2014/main" id="{4BE0CEFE-062C-4720-884B-5246EE13E0B6}"/>
              </a:ext>
            </a:extLst>
          </p:cNvPr>
          <p:cNvSpPr>
            <a:spLocks noGrp="1"/>
          </p:cNvSpPr>
          <p:nvPr>
            <p:ph type="subTitle" idx="1"/>
          </p:nvPr>
        </p:nvSpPr>
        <p:spPr>
          <a:xfrm>
            <a:off x="475200" y="5549073"/>
            <a:ext cx="7998823" cy="813632"/>
          </a:xfrm>
        </p:spPr>
        <p:txBody>
          <a:bodyPr/>
          <a:lstStyle/>
          <a:p>
            <a:pPr lvl="1"/>
            <a:endParaRPr lang="en-US" altLang="zh-TW" sz="2400" b="1" dirty="0">
              <a:solidFill>
                <a:schemeClr val="accent1"/>
              </a:solidFill>
              <a:latin typeface="+mj-ea"/>
            </a:endParaRPr>
          </a:p>
          <a:p>
            <a:pPr lvl="1"/>
            <a:r>
              <a:rPr lang="zh-TW" altLang="en-US" sz="2400" b="1" dirty="0">
                <a:solidFill>
                  <a:schemeClr val="accent1"/>
                </a:solidFill>
                <a:latin typeface="+mj-ea"/>
              </a:rPr>
              <a:t>證券暨期貨商作業委託他人處理應注意事項委託專案</a:t>
            </a:r>
            <a:br>
              <a:rPr lang="en-US" altLang="zh-TW" sz="2400" b="1" dirty="0">
                <a:solidFill>
                  <a:schemeClr val="accent1"/>
                </a:solidFill>
                <a:latin typeface="+mj-ea"/>
              </a:rPr>
            </a:br>
            <a:r>
              <a:rPr lang="zh-TW" altLang="en-US" sz="2400" b="1" dirty="0">
                <a:solidFill>
                  <a:schemeClr val="accent1"/>
                </a:solidFill>
                <a:latin typeface="+mj-ea"/>
              </a:rPr>
              <a:t>券商說明會議</a:t>
            </a:r>
            <a:endParaRPr lang="en-US" altLang="zh-TW" sz="2400" b="1" dirty="0">
              <a:solidFill>
                <a:schemeClr val="accent1"/>
              </a:solidFill>
              <a:latin typeface="+mj-ea"/>
            </a:endParaRPr>
          </a:p>
        </p:txBody>
      </p:sp>
      <p:sp>
        <p:nvSpPr>
          <p:cNvPr id="6" name="Text Placeholder 4">
            <a:extLst>
              <a:ext uri="{FF2B5EF4-FFF2-40B4-BE49-F238E27FC236}">
                <a16:creationId xmlns:a16="http://schemas.microsoft.com/office/drawing/2014/main" id="{B39E2522-4A46-489D-9BD5-FAB747051F64}"/>
              </a:ext>
            </a:extLst>
          </p:cNvPr>
          <p:cNvSpPr>
            <a:spLocks noGrp="1"/>
          </p:cNvSpPr>
          <p:nvPr>
            <p:ph type="body" sz="quarter" idx="10"/>
          </p:nvPr>
        </p:nvSpPr>
        <p:spPr/>
        <p:txBody>
          <a:bodyPr/>
          <a:lstStyle/>
          <a:p>
            <a:r>
              <a:rPr lang="zh-TW" altLang="en-US" dirty="0"/>
              <a:t>勤業眾信聯合會計師事務所  風險諮詢服務 </a:t>
            </a:r>
            <a:r>
              <a:rPr lang="en-US" altLang="zh-TW" dirty="0"/>
              <a:t>|</a:t>
            </a:r>
            <a:r>
              <a:rPr lang="zh-TW" altLang="en-US" dirty="0"/>
              <a:t> </a:t>
            </a:r>
            <a:r>
              <a:rPr lang="en-US" altLang="zh-TW" dirty="0"/>
              <a:t>2024.04</a:t>
            </a:r>
            <a:endParaRPr lang="en-GB" altLang="zh-TW" dirty="0"/>
          </a:p>
        </p:txBody>
      </p:sp>
    </p:spTree>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a:xfrm>
            <a:off x="469901" y="402587"/>
            <a:ext cx="10396573" cy="379302"/>
          </a:xfrm>
        </p:spPr>
        <p:txBody>
          <a:bodyPr/>
          <a:lstStyle/>
          <a:p>
            <a:r>
              <a:rPr lang="zh-TW" altLang="en-US" b="1" dirty="0"/>
              <a:t>說明手冊</a:t>
            </a:r>
            <a:r>
              <a:rPr lang="en-US" altLang="zh-TW" b="1" dirty="0"/>
              <a:t>-</a:t>
            </a:r>
            <a:r>
              <a:rPr lang="zh-TW" altLang="en-US" b="1" dirty="0"/>
              <a:t>判斷委外案件是否需適用「證券商作業委託他人處理應注意事項」</a:t>
            </a:r>
          </a:p>
        </p:txBody>
      </p:sp>
      <p:sp>
        <p:nvSpPr>
          <p:cNvPr id="7" name="矩形: 圓角 6">
            <a:extLst>
              <a:ext uri="{FF2B5EF4-FFF2-40B4-BE49-F238E27FC236}">
                <a16:creationId xmlns:a16="http://schemas.microsoft.com/office/drawing/2014/main" id="{9B0BF14B-49DF-7F1A-A32C-389355D2F68D}"/>
              </a:ext>
            </a:extLst>
          </p:cNvPr>
          <p:cNvSpPr/>
          <p:nvPr/>
        </p:nvSpPr>
        <p:spPr bwMode="gray">
          <a:xfrm>
            <a:off x="7244037" y="987690"/>
            <a:ext cx="4466413" cy="1832993"/>
          </a:xfrm>
          <a:prstGeom prst="roundRect">
            <a:avLst/>
          </a:prstGeom>
          <a:solidFill>
            <a:schemeClr val="accent3"/>
          </a:solidFill>
          <a:ln w="19050" algn="ctr">
            <a:noFill/>
            <a:miter lim="800000"/>
            <a:headEnd/>
            <a:tailEnd/>
          </a:ln>
        </p:spPr>
        <p:txBody>
          <a:bodyPr wrap="square" lIns="88900" tIns="88900" rIns="88900" bIns="88900" rtlCol="0" anchor="t" anchorCtr="0"/>
          <a:lstStyle/>
          <a:p>
            <a:pPr marL="285750" indent="-285750">
              <a:lnSpc>
                <a:spcPct val="106000"/>
              </a:lnSpc>
              <a:buFont typeface="Wingdings" panose="05000000000000000000" pitchFamily="2" charset="2"/>
              <a:buChar char="Ø"/>
            </a:pPr>
            <a:r>
              <a:rPr lang="zh-TW" altLang="en-US" sz="1600" b="1" dirty="0">
                <a:solidFill>
                  <a:schemeClr val="bg1"/>
                </a:solidFill>
              </a:rPr>
              <a:t>有關個案、特例判斷是否應適用「證券商作業委託他人處理應注意事項」，請參考相關問答集內之詳細說明。</a:t>
            </a:r>
            <a:endParaRPr lang="en-US" altLang="zh-TW" sz="1600" b="1" dirty="0">
              <a:solidFill>
                <a:schemeClr val="bg1"/>
              </a:solidFill>
            </a:endParaRPr>
          </a:p>
          <a:p>
            <a:pPr marL="285750" indent="-285750">
              <a:lnSpc>
                <a:spcPct val="106000"/>
              </a:lnSpc>
              <a:buFont typeface="Arial" panose="020B0604020202020204" pitchFamily="34" charset="0"/>
              <a:buChar char="•"/>
            </a:pPr>
            <a:endParaRPr lang="en-US" altLang="zh-TW" sz="1600" b="1" dirty="0">
              <a:solidFill>
                <a:schemeClr val="bg1"/>
              </a:solidFill>
            </a:endParaRPr>
          </a:p>
          <a:p>
            <a:pPr marL="285750" indent="-285750">
              <a:lnSpc>
                <a:spcPct val="106000"/>
              </a:lnSpc>
              <a:buFont typeface="Arial" panose="020B0604020202020204" pitchFamily="34" charset="0"/>
              <a:buChar char="•"/>
            </a:pPr>
            <a:r>
              <a:rPr lang="zh-TW" altLang="en-US" sz="1600" b="1" dirty="0">
                <a:solidFill>
                  <a:schemeClr val="bg1"/>
                </a:solidFill>
              </a:rPr>
              <a:t>有關證券商作業委託他人處理應注意事項相關問題適用解說問答集</a:t>
            </a:r>
            <a:endParaRPr lang="en-US" altLang="zh-TW" sz="1600" b="1" dirty="0">
              <a:solidFill>
                <a:schemeClr val="bg1"/>
              </a:solidFill>
            </a:endParaRPr>
          </a:p>
        </p:txBody>
      </p:sp>
      <p:pic>
        <p:nvPicPr>
          <p:cNvPr id="12" name="圖片 11">
            <a:extLst>
              <a:ext uri="{FF2B5EF4-FFF2-40B4-BE49-F238E27FC236}">
                <a16:creationId xmlns:a16="http://schemas.microsoft.com/office/drawing/2014/main" id="{2982E3BA-8539-32F8-F9A5-16C484736E03}"/>
              </a:ext>
            </a:extLst>
          </p:cNvPr>
          <p:cNvPicPr>
            <a:picLocks noChangeAspect="1"/>
          </p:cNvPicPr>
          <p:nvPr/>
        </p:nvPicPr>
        <p:blipFill>
          <a:blip r:embed="rId2"/>
          <a:stretch>
            <a:fillRect/>
          </a:stretch>
        </p:blipFill>
        <p:spPr>
          <a:xfrm>
            <a:off x="6921619" y="3834558"/>
            <a:ext cx="5111251" cy="2169650"/>
          </a:xfrm>
          <a:prstGeom prst="rect">
            <a:avLst/>
          </a:prstGeom>
        </p:spPr>
      </p:pic>
      <p:sp>
        <p:nvSpPr>
          <p:cNvPr id="13" name="箭號: 向下 12">
            <a:extLst>
              <a:ext uri="{FF2B5EF4-FFF2-40B4-BE49-F238E27FC236}">
                <a16:creationId xmlns:a16="http://schemas.microsoft.com/office/drawing/2014/main" id="{587A9185-628D-7480-1DA8-9811FB010B63}"/>
              </a:ext>
            </a:extLst>
          </p:cNvPr>
          <p:cNvSpPr/>
          <p:nvPr/>
        </p:nvSpPr>
        <p:spPr bwMode="gray">
          <a:xfrm>
            <a:off x="9291173" y="2955481"/>
            <a:ext cx="372139" cy="744279"/>
          </a:xfrm>
          <a:prstGeom prst="down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pic>
        <p:nvPicPr>
          <p:cNvPr id="17" name="圖片 16">
            <a:extLst>
              <a:ext uri="{FF2B5EF4-FFF2-40B4-BE49-F238E27FC236}">
                <a16:creationId xmlns:a16="http://schemas.microsoft.com/office/drawing/2014/main" id="{3A15C194-9BE9-A2EA-7E51-911FC64B2D4D}"/>
              </a:ext>
            </a:extLst>
          </p:cNvPr>
          <p:cNvPicPr>
            <a:picLocks noChangeAspect="1"/>
          </p:cNvPicPr>
          <p:nvPr/>
        </p:nvPicPr>
        <p:blipFill>
          <a:blip r:embed="rId3"/>
          <a:stretch>
            <a:fillRect/>
          </a:stretch>
        </p:blipFill>
        <p:spPr>
          <a:xfrm>
            <a:off x="755266" y="881363"/>
            <a:ext cx="5340734" cy="5440935"/>
          </a:xfrm>
          <a:prstGeom prst="rect">
            <a:avLst/>
          </a:prstGeom>
        </p:spPr>
      </p:pic>
    </p:spTree>
    <p:extLst>
      <p:ext uri="{BB962C8B-B14F-4D97-AF65-F5344CB8AC3E}">
        <p14:creationId xmlns:p14="http://schemas.microsoft.com/office/powerpoint/2010/main" val="4209700434"/>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說明手冊</a:t>
            </a:r>
            <a:r>
              <a:rPr lang="en-US" altLang="zh-TW" b="1" dirty="0"/>
              <a:t>-</a:t>
            </a:r>
            <a:r>
              <a:rPr lang="zh-TW" altLang="en-US" b="1" dirty="0"/>
              <a:t>委外內部作業規範建立</a:t>
            </a:r>
          </a:p>
        </p:txBody>
      </p:sp>
      <p:sp>
        <p:nvSpPr>
          <p:cNvPr id="10" name="文字方塊 9">
            <a:extLst>
              <a:ext uri="{FF2B5EF4-FFF2-40B4-BE49-F238E27FC236}">
                <a16:creationId xmlns:a16="http://schemas.microsoft.com/office/drawing/2014/main" id="{3D8FD700-17A7-2A7D-A029-0E8B28ED98B4}"/>
              </a:ext>
            </a:extLst>
          </p:cNvPr>
          <p:cNvSpPr txBox="1"/>
          <p:nvPr/>
        </p:nvSpPr>
        <p:spPr>
          <a:xfrm>
            <a:off x="469901" y="988828"/>
            <a:ext cx="11018311" cy="307777"/>
          </a:xfrm>
          <a:prstGeom prst="rect">
            <a:avLst/>
          </a:prstGeom>
          <a:noFill/>
        </p:spPr>
        <p:txBody>
          <a:bodyPr wrap="square" lIns="0" tIns="0" rIns="0" bIns="0" rtlCol="0">
            <a:spAutoFit/>
          </a:bodyPr>
          <a:lstStyle/>
          <a:p>
            <a:pPr>
              <a:spcBef>
                <a:spcPts val="600"/>
              </a:spcBef>
              <a:buSzPct val="100000"/>
            </a:pPr>
            <a:r>
              <a:rPr lang="zh-TW" altLang="en-US" sz="2000" dirty="0">
                <a:solidFill>
                  <a:schemeClr val="bg1"/>
                </a:solidFill>
              </a:rPr>
              <a:t>證券商於</a:t>
            </a:r>
            <a:r>
              <a:rPr lang="en-US" altLang="zh-TW" sz="2000" dirty="0">
                <a:solidFill>
                  <a:schemeClr val="bg1"/>
                </a:solidFill>
              </a:rPr>
              <a:t>113</a:t>
            </a:r>
            <a:r>
              <a:rPr lang="zh-TW" altLang="en-US" sz="2000" dirty="0">
                <a:solidFill>
                  <a:schemeClr val="bg1"/>
                </a:solidFill>
              </a:rPr>
              <a:t>年</a:t>
            </a:r>
            <a:r>
              <a:rPr lang="en-US" altLang="zh-TW" sz="2000" dirty="0">
                <a:solidFill>
                  <a:schemeClr val="bg1"/>
                </a:solidFill>
              </a:rPr>
              <a:t>8</a:t>
            </a:r>
            <a:r>
              <a:rPr lang="zh-TW" altLang="en-US" sz="2000" dirty="0">
                <a:solidFill>
                  <a:schemeClr val="bg1"/>
                </a:solidFill>
              </a:rPr>
              <a:t>月</a:t>
            </a:r>
            <a:r>
              <a:rPr lang="en-US" altLang="zh-TW" sz="2000" dirty="0">
                <a:solidFill>
                  <a:schemeClr val="bg1"/>
                </a:solidFill>
              </a:rPr>
              <a:t>31</a:t>
            </a:r>
            <a:r>
              <a:rPr lang="zh-TW" altLang="en-US" sz="2000" dirty="0">
                <a:solidFill>
                  <a:schemeClr val="bg1"/>
                </a:solidFill>
              </a:rPr>
              <a:t>日前應建立委外內部作業規範，並通過董事會核定。</a:t>
            </a:r>
          </a:p>
        </p:txBody>
      </p:sp>
      <p:pic>
        <p:nvPicPr>
          <p:cNvPr id="13" name="圖片 12">
            <a:extLst>
              <a:ext uri="{FF2B5EF4-FFF2-40B4-BE49-F238E27FC236}">
                <a16:creationId xmlns:a16="http://schemas.microsoft.com/office/drawing/2014/main" id="{A49952BC-ED8D-1B06-4E70-6796FDE9052D}"/>
              </a:ext>
            </a:extLst>
          </p:cNvPr>
          <p:cNvPicPr>
            <a:picLocks noChangeAspect="1"/>
          </p:cNvPicPr>
          <p:nvPr/>
        </p:nvPicPr>
        <p:blipFill>
          <a:blip r:embed="rId2"/>
          <a:stretch>
            <a:fillRect/>
          </a:stretch>
        </p:blipFill>
        <p:spPr>
          <a:xfrm>
            <a:off x="469900" y="1744979"/>
            <a:ext cx="11307329" cy="2922713"/>
          </a:xfrm>
          <a:prstGeom prst="rect">
            <a:avLst/>
          </a:prstGeom>
        </p:spPr>
      </p:pic>
    </p:spTree>
    <p:extLst>
      <p:ext uri="{BB962C8B-B14F-4D97-AF65-F5344CB8AC3E}">
        <p14:creationId xmlns:p14="http://schemas.microsoft.com/office/powerpoint/2010/main" val="3002326574"/>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說明手冊</a:t>
            </a:r>
            <a:r>
              <a:rPr lang="en-US" altLang="zh-TW" b="1" dirty="0"/>
              <a:t>-</a:t>
            </a:r>
            <a:r>
              <a:rPr lang="zh-TW" altLang="en-US" b="1" dirty="0"/>
              <a:t>使用風險基礎方法評估現有案件</a:t>
            </a:r>
          </a:p>
        </p:txBody>
      </p:sp>
      <p:sp>
        <p:nvSpPr>
          <p:cNvPr id="15" name="矩形: 圓角 14">
            <a:extLst>
              <a:ext uri="{FF2B5EF4-FFF2-40B4-BE49-F238E27FC236}">
                <a16:creationId xmlns:a16="http://schemas.microsoft.com/office/drawing/2014/main" id="{5CF6A85C-BCA6-D5B2-E569-7D8588CDAEF8}"/>
              </a:ext>
            </a:extLst>
          </p:cNvPr>
          <p:cNvSpPr/>
          <p:nvPr/>
        </p:nvSpPr>
        <p:spPr bwMode="gray">
          <a:xfrm>
            <a:off x="7382260" y="869953"/>
            <a:ext cx="4466413" cy="2128428"/>
          </a:xfrm>
          <a:prstGeom prst="roundRect">
            <a:avLst/>
          </a:prstGeom>
          <a:solidFill>
            <a:schemeClr val="accent3"/>
          </a:solidFill>
          <a:ln w="19050" algn="ctr">
            <a:noFill/>
            <a:miter lim="800000"/>
            <a:headEnd/>
            <a:tailEnd/>
          </a:ln>
        </p:spPr>
        <p:txBody>
          <a:bodyPr wrap="square" lIns="88900" tIns="88900" rIns="88900" bIns="88900" rtlCol="0" anchor="t" anchorCtr="0"/>
          <a:lstStyle/>
          <a:p>
            <a:pPr marL="285750" indent="-285750">
              <a:lnSpc>
                <a:spcPct val="106000"/>
              </a:lnSpc>
              <a:buFont typeface="Wingdings" panose="05000000000000000000" pitchFamily="2" charset="2"/>
              <a:buChar char="Ø"/>
            </a:pPr>
            <a:r>
              <a:rPr lang="zh-TW" altLang="en-US" sz="1600" b="1" dirty="0">
                <a:solidFill>
                  <a:schemeClr val="bg1"/>
                </a:solidFill>
              </a:rPr>
              <a:t>證券商、期貨商自委外內部作業規範通過後，需依照所建立之風險基礎方法論流程評估案件。</a:t>
            </a:r>
            <a:endParaRPr lang="en-US" altLang="zh-TW" sz="1600" b="1" dirty="0">
              <a:solidFill>
                <a:schemeClr val="bg1"/>
              </a:solidFill>
            </a:endParaRPr>
          </a:p>
          <a:p>
            <a:pPr marL="285750" indent="-285750">
              <a:lnSpc>
                <a:spcPct val="106000"/>
              </a:lnSpc>
              <a:buFont typeface="Wingdings" panose="05000000000000000000" pitchFamily="2" charset="2"/>
              <a:buChar char="Ø"/>
            </a:pPr>
            <a:r>
              <a:rPr lang="zh-TW" altLang="en-US" sz="1600" b="1" dirty="0">
                <a:solidFill>
                  <a:schemeClr val="bg1"/>
                </a:solidFill>
              </a:rPr>
              <a:t>現存案件如未到期可等到期後續約時重新執行首次相關評估作業。</a:t>
            </a:r>
            <a:endParaRPr lang="en-US" altLang="zh-TW" sz="1600" b="1" dirty="0">
              <a:solidFill>
                <a:schemeClr val="bg1"/>
              </a:solidFill>
            </a:endParaRPr>
          </a:p>
          <a:p>
            <a:pPr marL="285750" indent="-285750">
              <a:lnSpc>
                <a:spcPct val="106000"/>
              </a:lnSpc>
              <a:buFont typeface="Wingdings" panose="05000000000000000000" pitchFamily="2" charset="2"/>
              <a:buChar char="Ø"/>
            </a:pPr>
            <a:r>
              <a:rPr lang="zh-TW" altLang="en-US" sz="1600" b="1" dirty="0">
                <a:solidFill>
                  <a:schemeClr val="bg1"/>
                </a:solidFill>
              </a:rPr>
              <a:t>作業委外案件定期審查依業者訂定之委外內部作業規範制定頻率如期執行。</a:t>
            </a:r>
          </a:p>
        </p:txBody>
      </p:sp>
      <p:pic>
        <p:nvPicPr>
          <p:cNvPr id="25" name="圖片 24">
            <a:extLst>
              <a:ext uri="{FF2B5EF4-FFF2-40B4-BE49-F238E27FC236}">
                <a16:creationId xmlns:a16="http://schemas.microsoft.com/office/drawing/2014/main" id="{866CB0B4-6680-06AE-EB96-00A5C9ACC4FC}"/>
              </a:ext>
            </a:extLst>
          </p:cNvPr>
          <p:cNvPicPr>
            <a:picLocks noChangeAspect="1"/>
          </p:cNvPicPr>
          <p:nvPr/>
        </p:nvPicPr>
        <p:blipFill>
          <a:blip r:embed="rId2"/>
          <a:stretch>
            <a:fillRect/>
          </a:stretch>
        </p:blipFill>
        <p:spPr>
          <a:xfrm>
            <a:off x="469901" y="869953"/>
            <a:ext cx="6568440" cy="5585460"/>
          </a:xfrm>
          <a:prstGeom prst="rect">
            <a:avLst/>
          </a:prstGeom>
        </p:spPr>
      </p:pic>
    </p:spTree>
    <p:extLst>
      <p:ext uri="{BB962C8B-B14F-4D97-AF65-F5344CB8AC3E}">
        <p14:creationId xmlns:p14="http://schemas.microsoft.com/office/powerpoint/2010/main" val="3324730333"/>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說明手冊</a:t>
            </a:r>
            <a:r>
              <a:rPr lang="en-US" altLang="zh-TW" b="1" dirty="0"/>
              <a:t>-</a:t>
            </a:r>
            <a:r>
              <a:rPr lang="zh-TW" altLang="en-US" b="1" dirty="0"/>
              <a:t>委外內部作業參考規範</a:t>
            </a:r>
            <a:r>
              <a:rPr lang="en-US" altLang="zh-TW" b="1" dirty="0"/>
              <a:t>(</a:t>
            </a:r>
            <a:r>
              <a:rPr lang="zh-TW" altLang="en-US" b="1" dirty="0"/>
              <a:t>附件一</a:t>
            </a:r>
            <a:r>
              <a:rPr lang="en-US" altLang="zh-TW" b="1" dirty="0"/>
              <a:t>)</a:t>
            </a:r>
            <a:endParaRPr lang="zh-TW" altLang="en-US" b="1" dirty="0"/>
          </a:p>
        </p:txBody>
      </p:sp>
      <p:sp>
        <p:nvSpPr>
          <p:cNvPr id="3" name="矩形: 圓角 2">
            <a:extLst>
              <a:ext uri="{FF2B5EF4-FFF2-40B4-BE49-F238E27FC236}">
                <a16:creationId xmlns:a16="http://schemas.microsoft.com/office/drawing/2014/main" id="{378B726A-F834-86E5-2E55-62180E31E279}"/>
              </a:ext>
            </a:extLst>
          </p:cNvPr>
          <p:cNvSpPr/>
          <p:nvPr/>
        </p:nvSpPr>
        <p:spPr bwMode="gray">
          <a:xfrm>
            <a:off x="469901" y="2076819"/>
            <a:ext cx="3413051" cy="3487479"/>
          </a:xfrm>
          <a:prstGeom prst="roundRect">
            <a:avLst/>
          </a:prstGeom>
          <a:solidFill>
            <a:schemeClr val="accent3"/>
          </a:solidFill>
          <a:ln w="19050" algn="ctr">
            <a:noFill/>
            <a:miter lim="800000"/>
            <a:headEnd/>
            <a:tailEnd/>
          </a:ln>
        </p:spPr>
        <p:txBody>
          <a:bodyPr wrap="square" lIns="88900" tIns="88900" rIns="88900" bIns="88900" rtlCol="0" anchor="ctr"/>
          <a:lstStyle/>
          <a:p>
            <a:pPr marL="542925" indent="-542925">
              <a:lnSpc>
                <a:spcPct val="106000"/>
              </a:lnSpc>
              <a:buFont typeface="Wingdings 2" pitchFamily="18" charset="2"/>
              <a:buNone/>
            </a:pPr>
            <a:r>
              <a:rPr lang="zh-TW" altLang="en-US" sz="1600" b="1" dirty="0">
                <a:solidFill>
                  <a:schemeClr val="bg1"/>
                </a:solidFill>
              </a:rPr>
              <a:t>（一）作業委外之政策及原則，包括委外之決策評估、風險管理機制、核決層級及治理架構。</a:t>
            </a:r>
          </a:p>
          <a:p>
            <a:pPr marL="542925" indent="-542925">
              <a:lnSpc>
                <a:spcPct val="106000"/>
              </a:lnSpc>
              <a:buFont typeface="Wingdings 2" pitchFamily="18" charset="2"/>
              <a:buNone/>
            </a:pPr>
            <a:r>
              <a:rPr lang="zh-TW" altLang="en-US" sz="1600" b="1" dirty="0">
                <a:solidFill>
                  <a:schemeClr val="bg1"/>
                </a:solidFill>
              </a:rPr>
              <a:t>（二）專責單位及相關單位對委外事項控管之權責分工。</a:t>
            </a:r>
          </a:p>
          <a:p>
            <a:pPr marL="542925" indent="-542925">
              <a:lnSpc>
                <a:spcPct val="106000"/>
              </a:lnSpc>
              <a:buFont typeface="Wingdings 2" pitchFamily="18" charset="2"/>
              <a:buNone/>
            </a:pPr>
            <a:r>
              <a:rPr lang="zh-TW" altLang="en-US" sz="1600" b="1" dirty="0">
                <a:solidFill>
                  <a:schemeClr val="bg1"/>
                </a:solidFill>
              </a:rPr>
              <a:t>（三）委外事項範圍及委外程序。</a:t>
            </a:r>
          </a:p>
          <a:p>
            <a:pPr marL="542925" indent="-542925">
              <a:lnSpc>
                <a:spcPct val="106000"/>
              </a:lnSpc>
              <a:buFont typeface="Wingdings 2" pitchFamily="18" charset="2"/>
              <a:buNone/>
            </a:pPr>
            <a:r>
              <a:rPr lang="zh-TW" altLang="en-US" sz="1600" b="1" dirty="0">
                <a:solidFill>
                  <a:schemeClr val="bg1"/>
                </a:solidFill>
              </a:rPr>
              <a:t>（四）客戶權益保障之內部作業及程序。</a:t>
            </a:r>
          </a:p>
          <a:p>
            <a:pPr marL="542925" indent="-542925">
              <a:lnSpc>
                <a:spcPct val="106000"/>
              </a:lnSpc>
              <a:buFont typeface="Wingdings 2" pitchFamily="18" charset="2"/>
              <a:buNone/>
            </a:pPr>
            <a:r>
              <a:rPr lang="zh-TW" altLang="en-US" sz="1600" b="1" dirty="0">
                <a:solidFill>
                  <a:schemeClr val="bg1"/>
                </a:solidFill>
              </a:rPr>
              <a:t>（五）風險管理原則及作業程序。</a:t>
            </a:r>
          </a:p>
          <a:p>
            <a:pPr marL="542925" indent="-542925">
              <a:lnSpc>
                <a:spcPct val="106000"/>
              </a:lnSpc>
              <a:buFont typeface="Wingdings 2" pitchFamily="18" charset="2"/>
              <a:buNone/>
            </a:pPr>
            <a:r>
              <a:rPr lang="zh-TW" altLang="en-US" sz="1600" b="1" dirty="0">
                <a:solidFill>
                  <a:schemeClr val="bg1"/>
                </a:solidFill>
              </a:rPr>
              <a:t>（六）內部控制原則及作業程序。</a:t>
            </a:r>
          </a:p>
          <a:p>
            <a:pPr marL="542925" indent="-542925">
              <a:lnSpc>
                <a:spcPct val="106000"/>
              </a:lnSpc>
              <a:buFont typeface="Wingdings 2" pitchFamily="18" charset="2"/>
              <a:buNone/>
            </a:pPr>
            <a:r>
              <a:rPr lang="zh-TW" altLang="en-US" sz="1600" b="1" dirty="0">
                <a:solidFill>
                  <a:schemeClr val="bg1"/>
                </a:solidFill>
              </a:rPr>
              <a:t>（七）其他委外作業事項及程序。</a:t>
            </a:r>
          </a:p>
        </p:txBody>
      </p:sp>
      <p:sp>
        <p:nvSpPr>
          <p:cNvPr id="5" name="矩形: 圓角 4">
            <a:extLst>
              <a:ext uri="{FF2B5EF4-FFF2-40B4-BE49-F238E27FC236}">
                <a16:creationId xmlns:a16="http://schemas.microsoft.com/office/drawing/2014/main" id="{68E4FFD1-7859-BEA4-A2B4-D3657924EA61}"/>
              </a:ext>
            </a:extLst>
          </p:cNvPr>
          <p:cNvSpPr/>
          <p:nvPr/>
        </p:nvSpPr>
        <p:spPr bwMode="gray">
          <a:xfrm>
            <a:off x="469901" y="1022572"/>
            <a:ext cx="3413051" cy="542260"/>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a:solidFill>
                  <a:schemeClr val="bg1"/>
                </a:solidFill>
              </a:rPr>
              <a:t>委外內部作業參考規範</a:t>
            </a:r>
            <a:endParaRPr lang="zh-TW" altLang="en-US" sz="1600" b="1" dirty="0">
              <a:solidFill>
                <a:schemeClr val="bg1"/>
              </a:solidFill>
            </a:endParaRPr>
          </a:p>
        </p:txBody>
      </p:sp>
      <p:cxnSp>
        <p:nvCxnSpPr>
          <p:cNvPr id="7" name="直線接點 6">
            <a:extLst>
              <a:ext uri="{FF2B5EF4-FFF2-40B4-BE49-F238E27FC236}">
                <a16:creationId xmlns:a16="http://schemas.microsoft.com/office/drawing/2014/main" id="{DA0ECE32-AF59-AB6D-B90D-BB4C0342C4A0}"/>
              </a:ext>
            </a:extLst>
          </p:cNvPr>
          <p:cNvCxnSpPr>
            <a:stCxn id="5" idx="2"/>
            <a:endCxn id="3" idx="0"/>
          </p:cNvCxnSpPr>
          <p:nvPr/>
        </p:nvCxnSpPr>
        <p:spPr>
          <a:xfrm>
            <a:off x="2176427" y="1564832"/>
            <a:ext cx="0" cy="51198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矩形: 圓角 7">
            <a:extLst>
              <a:ext uri="{FF2B5EF4-FFF2-40B4-BE49-F238E27FC236}">
                <a16:creationId xmlns:a16="http://schemas.microsoft.com/office/drawing/2014/main" id="{1F886A15-59C9-3593-213F-7361AD6638B8}"/>
              </a:ext>
            </a:extLst>
          </p:cNvPr>
          <p:cNvSpPr/>
          <p:nvPr/>
        </p:nvSpPr>
        <p:spPr bwMode="gray">
          <a:xfrm>
            <a:off x="4736501" y="2766200"/>
            <a:ext cx="3934047" cy="591953"/>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自行修改專責單位</a:t>
            </a:r>
          </a:p>
        </p:txBody>
      </p:sp>
      <p:sp>
        <p:nvSpPr>
          <p:cNvPr id="9" name="矩形: 圓角 8">
            <a:extLst>
              <a:ext uri="{FF2B5EF4-FFF2-40B4-BE49-F238E27FC236}">
                <a16:creationId xmlns:a16="http://schemas.microsoft.com/office/drawing/2014/main" id="{B9D0F03A-9497-7A86-F679-324FE25773C8}"/>
              </a:ext>
            </a:extLst>
          </p:cNvPr>
          <p:cNvSpPr/>
          <p:nvPr/>
        </p:nvSpPr>
        <p:spPr bwMode="gray">
          <a:xfrm>
            <a:off x="4736501" y="3526428"/>
            <a:ext cx="3934047" cy="591953"/>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結合原有公司之內部作業流程</a:t>
            </a:r>
          </a:p>
        </p:txBody>
      </p:sp>
      <p:sp>
        <p:nvSpPr>
          <p:cNvPr id="10" name="矩形: 圓角 9">
            <a:extLst>
              <a:ext uri="{FF2B5EF4-FFF2-40B4-BE49-F238E27FC236}">
                <a16:creationId xmlns:a16="http://schemas.microsoft.com/office/drawing/2014/main" id="{9384CC27-C57E-794A-B897-5E8FD8DED895}"/>
              </a:ext>
            </a:extLst>
          </p:cNvPr>
          <p:cNvSpPr/>
          <p:nvPr/>
        </p:nvSpPr>
        <p:spPr bwMode="gray">
          <a:xfrm>
            <a:off x="4736501" y="4286657"/>
            <a:ext cx="3934047" cy="591953"/>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依據公司決議之分層授權簽核層級</a:t>
            </a:r>
          </a:p>
        </p:txBody>
      </p:sp>
      <p:cxnSp>
        <p:nvCxnSpPr>
          <p:cNvPr id="12" name="接點: 肘形 11">
            <a:extLst>
              <a:ext uri="{FF2B5EF4-FFF2-40B4-BE49-F238E27FC236}">
                <a16:creationId xmlns:a16="http://schemas.microsoft.com/office/drawing/2014/main" id="{A0702A92-4B31-7D7E-9381-5E7C00FDB2CD}"/>
              </a:ext>
            </a:extLst>
          </p:cNvPr>
          <p:cNvCxnSpPr>
            <a:stCxn id="3" idx="3"/>
            <a:endCxn id="8" idx="1"/>
          </p:cNvCxnSpPr>
          <p:nvPr/>
        </p:nvCxnSpPr>
        <p:spPr>
          <a:xfrm flipV="1">
            <a:off x="3882952" y="3062177"/>
            <a:ext cx="853549" cy="758382"/>
          </a:xfrm>
          <a:prstGeom prst="bentConnector3">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接點: 肘形 13">
            <a:extLst>
              <a:ext uri="{FF2B5EF4-FFF2-40B4-BE49-F238E27FC236}">
                <a16:creationId xmlns:a16="http://schemas.microsoft.com/office/drawing/2014/main" id="{E4F8A3E0-7532-FEF5-DFC8-3D11B6A36F31}"/>
              </a:ext>
            </a:extLst>
          </p:cNvPr>
          <p:cNvCxnSpPr>
            <a:cxnSpLocks/>
            <a:stCxn id="3" idx="3"/>
            <a:endCxn id="10" idx="1"/>
          </p:cNvCxnSpPr>
          <p:nvPr/>
        </p:nvCxnSpPr>
        <p:spPr>
          <a:xfrm>
            <a:off x="3882952" y="3820559"/>
            <a:ext cx="853549" cy="762075"/>
          </a:xfrm>
          <a:prstGeom prst="bentConnector3">
            <a:avLst>
              <a:gd name="adj1" fmla="val 50000"/>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直線接點 20">
            <a:extLst>
              <a:ext uri="{FF2B5EF4-FFF2-40B4-BE49-F238E27FC236}">
                <a16:creationId xmlns:a16="http://schemas.microsoft.com/office/drawing/2014/main" id="{2568D4DE-0ADE-470C-E27C-49089F85A4FB}"/>
              </a:ext>
            </a:extLst>
          </p:cNvPr>
          <p:cNvCxnSpPr>
            <a:stCxn id="3" idx="3"/>
            <a:endCxn id="9" idx="1"/>
          </p:cNvCxnSpPr>
          <p:nvPr/>
        </p:nvCxnSpPr>
        <p:spPr>
          <a:xfrm>
            <a:off x="3882952" y="3820559"/>
            <a:ext cx="853549" cy="184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矩形: 圓角 22">
            <a:extLst>
              <a:ext uri="{FF2B5EF4-FFF2-40B4-BE49-F238E27FC236}">
                <a16:creationId xmlns:a16="http://schemas.microsoft.com/office/drawing/2014/main" id="{CCE2756D-5B0C-5530-5367-063318EFADF6}"/>
              </a:ext>
            </a:extLst>
          </p:cNvPr>
          <p:cNvSpPr/>
          <p:nvPr/>
        </p:nvSpPr>
        <p:spPr bwMode="gray">
          <a:xfrm>
            <a:off x="9117133" y="2076818"/>
            <a:ext cx="2604966" cy="348747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注意事項*</a:t>
            </a:r>
            <a:endParaRPr lang="en-US" altLang="zh-TW" sz="1600" b="1" dirty="0">
              <a:solidFill>
                <a:schemeClr val="bg1"/>
              </a:solidFill>
            </a:endParaRPr>
          </a:p>
          <a:p>
            <a:pPr algn="ctr">
              <a:lnSpc>
                <a:spcPct val="106000"/>
              </a:lnSpc>
              <a:buFont typeface="Wingdings 2" pitchFamily="18" charset="2"/>
              <a:buNone/>
            </a:pPr>
            <a:r>
              <a:rPr lang="zh-TW" altLang="en-US" sz="1600" b="1" dirty="0">
                <a:solidFill>
                  <a:schemeClr val="bg1"/>
                </a:solidFill>
              </a:rPr>
              <a:t>須注意依「證券商作業委託他人處理應注意事項」規定須申請核准者</a:t>
            </a:r>
            <a:r>
              <a:rPr lang="en-US" altLang="zh-TW" sz="1600" b="1" dirty="0">
                <a:solidFill>
                  <a:schemeClr val="bg1"/>
                </a:solidFill>
              </a:rPr>
              <a:t>(</a:t>
            </a:r>
            <a:r>
              <a:rPr lang="zh-TW" altLang="en-US" sz="1600" b="1" dirty="0">
                <a:solidFill>
                  <a:schemeClr val="bg1"/>
                </a:solidFill>
              </a:rPr>
              <a:t>請參考應注意事項第五條及第十二條</a:t>
            </a:r>
            <a:r>
              <a:rPr lang="en-US" altLang="zh-TW" sz="1600" b="1" dirty="0">
                <a:solidFill>
                  <a:schemeClr val="bg1"/>
                </a:solidFill>
              </a:rPr>
              <a:t>)</a:t>
            </a:r>
            <a:r>
              <a:rPr lang="zh-TW" altLang="en-US" sz="1600" b="1" dirty="0">
                <a:solidFill>
                  <a:schemeClr val="bg1"/>
                </a:solidFill>
              </a:rPr>
              <a:t>皆應通過董事會層級核准以符合法規要求。</a:t>
            </a:r>
          </a:p>
        </p:txBody>
      </p:sp>
      <p:sp>
        <p:nvSpPr>
          <p:cNvPr id="24" name="文字方塊 23">
            <a:extLst>
              <a:ext uri="{FF2B5EF4-FFF2-40B4-BE49-F238E27FC236}">
                <a16:creationId xmlns:a16="http://schemas.microsoft.com/office/drawing/2014/main" id="{D268355F-6279-F37F-D674-5A601678A78E}"/>
              </a:ext>
            </a:extLst>
          </p:cNvPr>
          <p:cNvSpPr txBox="1"/>
          <p:nvPr/>
        </p:nvSpPr>
        <p:spPr>
          <a:xfrm>
            <a:off x="5549362" y="2226495"/>
            <a:ext cx="2308324" cy="307777"/>
          </a:xfrm>
          <a:prstGeom prst="rect">
            <a:avLst/>
          </a:prstGeom>
          <a:noFill/>
        </p:spPr>
        <p:txBody>
          <a:bodyPr wrap="none" lIns="0" tIns="0" rIns="0" bIns="0" rtlCol="0">
            <a:spAutoFit/>
          </a:bodyPr>
          <a:lstStyle/>
          <a:p>
            <a:pPr>
              <a:spcBef>
                <a:spcPts val="600"/>
              </a:spcBef>
              <a:buSzPct val="100000"/>
            </a:pPr>
            <a:r>
              <a:rPr lang="zh-TW" altLang="en-US" sz="2000" b="1" dirty="0">
                <a:solidFill>
                  <a:schemeClr val="bg1"/>
                </a:solidFill>
              </a:rPr>
              <a:t>各業者自行填寫部分</a:t>
            </a:r>
          </a:p>
        </p:txBody>
      </p:sp>
    </p:spTree>
    <p:extLst>
      <p:ext uri="{BB962C8B-B14F-4D97-AF65-F5344CB8AC3E}">
        <p14:creationId xmlns:p14="http://schemas.microsoft.com/office/powerpoint/2010/main" val="1476955825"/>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說明手冊</a:t>
            </a:r>
            <a:r>
              <a:rPr lang="en-US" altLang="zh-TW" b="1" dirty="0"/>
              <a:t>-</a:t>
            </a:r>
            <a:r>
              <a:rPr lang="zh-TW" altLang="en-US" b="1" dirty="0"/>
              <a:t>風險基礎方法之委外管理架構</a:t>
            </a:r>
            <a:r>
              <a:rPr lang="en-US" altLang="zh-TW" b="1" dirty="0"/>
              <a:t>(</a:t>
            </a:r>
            <a:r>
              <a:rPr lang="zh-TW" altLang="en-US" b="1" dirty="0"/>
              <a:t>附件二、三、四</a:t>
            </a:r>
            <a:r>
              <a:rPr lang="en-US" altLang="zh-TW" b="1" dirty="0"/>
              <a:t>)</a:t>
            </a:r>
            <a:endParaRPr lang="zh-TW" altLang="en-US" b="1" dirty="0"/>
          </a:p>
        </p:txBody>
      </p:sp>
      <p:sp>
        <p:nvSpPr>
          <p:cNvPr id="5" name="矩形: 圓角 4">
            <a:extLst>
              <a:ext uri="{FF2B5EF4-FFF2-40B4-BE49-F238E27FC236}">
                <a16:creationId xmlns:a16="http://schemas.microsoft.com/office/drawing/2014/main" id="{68E4FFD1-7859-BEA4-A2B4-D3657924EA61}"/>
              </a:ext>
            </a:extLst>
          </p:cNvPr>
          <p:cNvSpPr/>
          <p:nvPr/>
        </p:nvSpPr>
        <p:spPr bwMode="gray">
          <a:xfrm>
            <a:off x="469901" y="1022572"/>
            <a:ext cx="3413051" cy="542260"/>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風險基礎方法之委外管理架構</a:t>
            </a:r>
          </a:p>
        </p:txBody>
      </p:sp>
      <p:cxnSp>
        <p:nvCxnSpPr>
          <p:cNvPr id="7" name="直線接點 6">
            <a:extLst>
              <a:ext uri="{FF2B5EF4-FFF2-40B4-BE49-F238E27FC236}">
                <a16:creationId xmlns:a16="http://schemas.microsoft.com/office/drawing/2014/main" id="{DA0ECE32-AF59-AB6D-B90D-BB4C0342C4A0}"/>
              </a:ext>
            </a:extLst>
          </p:cNvPr>
          <p:cNvCxnSpPr>
            <a:cxnSpLocks/>
          </p:cNvCxnSpPr>
          <p:nvPr/>
        </p:nvCxnSpPr>
        <p:spPr>
          <a:xfrm>
            <a:off x="1233377" y="1579968"/>
            <a:ext cx="0" cy="17956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矩形: 圓角 7">
            <a:extLst>
              <a:ext uri="{FF2B5EF4-FFF2-40B4-BE49-F238E27FC236}">
                <a16:creationId xmlns:a16="http://schemas.microsoft.com/office/drawing/2014/main" id="{1F886A15-59C9-3593-213F-7361AD6638B8}"/>
              </a:ext>
            </a:extLst>
          </p:cNvPr>
          <p:cNvSpPr/>
          <p:nvPr/>
        </p:nvSpPr>
        <p:spPr bwMode="gray">
          <a:xfrm>
            <a:off x="2407971" y="2323102"/>
            <a:ext cx="2546801" cy="591953"/>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重大性評估表</a:t>
            </a:r>
            <a:r>
              <a:rPr lang="en-US" altLang="zh-TW" sz="1600" b="1" dirty="0">
                <a:solidFill>
                  <a:schemeClr val="bg1"/>
                </a:solidFill>
              </a:rPr>
              <a:t>(</a:t>
            </a:r>
            <a:r>
              <a:rPr lang="zh-TW" altLang="en-US" sz="1600" b="1" dirty="0">
                <a:solidFill>
                  <a:schemeClr val="bg1"/>
                </a:solidFill>
              </a:rPr>
              <a:t>附件二</a:t>
            </a:r>
            <a:r>
              <a:rPr lang="en-US" altLang="zh-TW" sz="1600" b="1" dirty="0">
                <a:solidFill>
                  <a:schemeClr val="bg1"/>
                </a:solidFill>
              </a:rPr>
              <a:t>)</a:t>
            </a:r>
            <a:endParaRPr lang="zh-TW" altLang="en-US" sz="1600" b="1" dirty="0">
              <a:solidFill>
                <a:schemeClr val="bg1"/>
              </a:solidFill>
            </a:endParaRPr>
          </a:p>
        </p:txBody>
      </p:sp>
      <p:sp>
        <p:nvSpPr>
          <p:cNvPr id="9" name="矩形: 圓角 8">
            <a:extLst>
              <a:ext uri="{FF2B5EF4-FFF2-40B4-BE49-F238E27FC236}">
                <a16:creationId xmlns:a16="http://schemas.microsoft.com/office/drawing/2014/main" id="{B9D0F03A-9497-7A86-F679-324FE25773C8}"/>
              </a:ext>
            </a:extLst>
          </p:cNvPr>
          <p:cNvSpPr/>
          <p:nvPr/>
        </p:nvSpPr>
        <p:spPr bwMode="gray">
          <a:xfrm>
            <a:off x="2407971" y="3461542"/>
            <a:ext cx="2546801" cy="591953"/>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風險評估表</a:t>
            </a:r>
            <a:r>
              <a:rPr lang="en-US" altLang="zh-TW" sz="1600" b="1" dirty="0">
                <a:solidFill>
                  <a:schemeClr val="bg1"/>
                </a:solidFill>
              </a:rPr>
              <a:t>(</a:t>
            </a:r>
            <a:r>
              <a:rPr lang="zh-TW" altLang="en-US" sz="1600" b="1" dirty="0">
                <a:solidFill>
                  <a:schemeClr val="bg1"/>
                </a:solidFill>
              </a:rPr>
              <a:t>附件三</a:t>
            </a:r>
            <a:r>
              <a:rPr lang="en-US" altLang="zh-TW" sz="1600" b="1" dirty="0">
                <a:solidFill>
                  <a:schemeClr val="bg1"/>
                </a:solidFill>
              </a:rPr>
              <a:t>)</a:t>
            </a:r>
            <a:endParaRPr lang="zh-TW" altLang="en-US" sz="1600" b="1" dirty="0">
              <a:solidFill>
                <a:schemeClr val="bg1"/>
              </a:solidFill>
            </a:endParaRPr>
          </a:p>
        </p:txBody>
      </p:sp>
      <p:sp>
        <p:nvSpPr>
          <p:cNvPr id="10" name="矩形: 圓角 9">
            <a:extLst>
              <a:ext uri="{FF2B5EF4-FFF2-40B4-BE49-F238E27FC236}">
                <a16:creationId xmlns:a16="http://schemas.microsoft.com/office/drawing/2014/main" id="{9384CC27-C57E-794A-B897-5E8FD8DED895}"/>
              </a:ext>
            </a:extLst>
          </p:cNvPr>
          <p:cNvSpPr/>
          <p:nvPr/>
        </p:nvSpPr>
        <p:spPr bwMode="gray">
          <a:xfrm>
            <a:off x="2407971" y="4599983"/>
            <a:ext cx="2546801" cy="591953"/>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廠商盡職調查表</a:t>
            </a:r>
            <a:r>
              <a:rPr lang="en-US" altLang="zh-TW" sz="1600" b="1" dirty="0">
                <a:solidFill>
                  <a:schemeClr val="bg1"/>
                </a:solidFill>
              </a:rPr>
              <a:t>(</a:t>
            </a:r>
            <a:r>
              <a:rPr lang="zh-TW" altLang="en-US" sz="1600" b="1" dirty="0">
                <a:solidFill>
                  <a:schemeClr val="bg1"/>
                </a:solidFill>
              </a:rPr>
              <a:t>附件四</a:t>
            </a:r>
            <a:r>
              <a:rPr lang="en-US" altLang="zh-TW" sz="1600" b="1" dirty="0">
                <a:solidFill>
                  <a:schemeClr val="bg1"/>
                </a:solidFill>
              </a:rPr>
              <a:t>)</a:t>
            </a:r>
            <a:endParaRPr lang="zh-TW" altLang="en-US" sz="1600" b="1" dirty="0">
              <a:solidFill>
                <a:schemeClr val="bg1"/>
              </a:solidFill>
            </a:endParaRPr>
          </a:p>
        </p:txBody>
      </p:sp>
      <p:cxnSp>
        <p:nvCxnSpPr>
          <p:cNvPr id="14" name="接點: 肘形 13">
            <a:extLst>
              <a:ext uri="{FF2B5EF4-FFF2-40B4-BE49-F238E27FC236}">
                <a16:creationId xmlns:a16="http://schemas.microsoft.com/office/drawing/2014/main" id="{E4F8A3E0-7532-FEF5-DFC8-3D11B6A36F31}"/>
              </a:ext>
            </a:extLst>
          </p:cNvPr>
          <p:cNvCxnSpPr>
            <a:cxnSpLocks/>
            <a:endCxn id="10" idx="1"/>
          </p:cNvCxnSpPr>
          <p:nvPr/>
        </p:nvCxnSpPr>
        <p:spPr>
          <a:xfrm rot="16200000" flipH="1">
            <a:off x="1060501" y="3548490"/>
            <a:ext cx="1520346" cy="1174594"/>
          </a:xfrm>
          <a:prstGeom prst="bentConnector2">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直線接點 20">
            <a:extLst>
              <a:ext uri="{FF2B5EF4-FFF2-40B4-BE49-F238E27FC236}">
                <a16:creationId xmlns:a16="http://schemas.microsoft.com/office/drawing/2014/main" id="{2568D4DE-0ADE-470C-E27C-49089F85A4FB}"/>
              </a:ext>
            </a:extLst>
          </p:cNvPr>
          <p:cNvCxnSpPr>
            <a:cxnSpLocks/>
            <a:endCxn id="9" idx="1"/>
          </p:cNvCxnSpPr>
          <p:nvPr/>
        </p:nvCxnSpPr>
        <p:spPr>
          <a:xfrm>
            <a:off x="1233376" y="3757519"/>
            <a:ext cx="117459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直線接點 29">
            <a:extLst>
              <a:ext uri="{FF2B5EF4-FFF2-40B4-BE49-F238E27FC236}">
                <a16:creationId xmlns:a16="http://schemas.microsoft.com/office/drawing/2014/main" id="{3BF7FF3B-FC86-795A-9B2D-68D905C225E9}"/>
              </a:ext>
            </a:extLst>
          </p:cNvPr>
          <p:cNvCxnSpPr>
            <a:cxnSpLocks/>
            <a:endCxn id="8" idx="1"/>
          </p:cNvCxnSpPr>
          <p:nvPr/>
        </p:nvCxnSpPr>
        <p:spPr>
          <a:xfrm>
            <a:off x="1233376" y="2619079"/>
            <a:ext cx="117459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直線接點 33">
            <a:extLst>
              <a:ext uri="{FF2B5EF4-FFF2-40B4-BE49-F238E27FC236}">
                <a16:creationId xmlns:a16="http://schemas.microsoft.com/office/drawing/2014/main" id="{0CA4E743-E6A6-00CD-9A1D-3B9A01F2E9C3}"/>
              </a:ext>
            </a:extLst>
          </p:cNvPr>
          <p:cNvCxnSpPr>
            <a:cxnSpLocks/>
            <a:stCxn id="8" idx="3"/>
            <a:endCxn id="42" idx="1"/>
          </p:cNvCxnSpPr>
          <p:nvPr/>
        </p:nvCxnSpPr>
        <p:spPr>
          <a:xfrm flipV="1">
            <a:off x="4954772" y="2619078"/>
            <a:ext cx="691116" cy="1"/>
          </a:xfrm>
          <a:prstGeom prst="line">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直線接點 37">
            <a:extLst>
              <a:ext uri="{FF2B5EF4-FFF2-40B4-BE49-F238E27FC236}">
                <a16:creationId xmlns:a16="http://schemas.microsoft.com/office/drawing/2014/main" id="{52E362A6-DDD7-F9E3-6D7F-8CB86CB9E2DE}"/>
              </a:ext>
            </a:extLst>
          </p:cNvPr>
          <p:cNvCxnSpPr>
            <a:cxnSpLocks/>
            <a:stCxn id="9" idx="3"/>
            <a:endCxn id="43" idx="1"/>
          </p:cNvCxnSpPr>
          <p:nvPr/>
        </p:nvCxnSpPr>
        <p:spPr>
          <a:xfrm flipV="1">
            <a:off x="4954772" y="3748354"/>
            <a:ext cx="691116" cy="9165"/>
          </a:xfrm>
          <a:prstGeom prst="line">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直線接點 38">
            <a:extLst>
              <a:ext uri="{FF2B5EF4-FFF2-40B4-BE49-F238E27FC236}">
                <a16:creationId xmlns:a16="http://schemas.microsoft.com/office/drawing/2014/main" id="{F03CAFF7-C0E1-4C51-362B-5C768D7439F0}"/>
              </a:ext>
            </a:extLst>
          </p:cNvPr>
          <p:cNvCxnSpPr>
            <a:cxnSpLocks/>
            <a:stCxn id="10" idx="3"/>
            <a:endCxn id="44" idx="1"/>
          </p:cNvCxnSpPr>
          <p:nvPr/>
        </p:nvCxnSpPr>
        <p:spPr>
          <a:xfrm>
            <a:off x="4954772" y="4895960"/>
            <a:ext cx="691116" cy="2936"/>
          </a:xfrm>
          <a:prstGeom prst="line">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矩形: 圓角 41">
            <a:extLst>
              <a:ext uri="{FF2B5EF4-FFF2-40B4-BE49-F238E27FC236}">
                <a16:creationId xmlns:a16="http://schemas.microsoft.com/office/drawing/2014/main" id="{607314A8-465E-A866-916E-AB0FFD2EA0F4}"/>
              </a:ext>
            </a:extLst>
          </p:cNvPr>
          <p:cNvSpPr/>
          <p:nvPr/>
        </p:nvSpPr>
        <p:spPr bwMode="gray">
          <a:xfrm>
            <a:off x="5645888" y="2161878"/>
            <a:ext cx="5832261" cy="914400"/>
          </a:xfrm>
          <a:prstGeom prst="roundRect">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如案件屬重大性，需為其訂定強化之控管及緊急應變措施</a:t>
            </a:r>
          </a:p>
        </p:txBody>
      </p:sp>
      <p:sp>
        <p:nvSpPr>
          <p:cNvPr id="43" name="矩形: 圓角 42">
            <a:extLst>
              <a:ext uri="{FF2B5EF4-FFF2-40B4-BE49-F238E27FC236}">
                <a16:creationId xmlns:a16="http://schemas.microsoft.com/office/drawing/2014/main" id="{F1DAF5DA-D83C-10BC-4F24-9163C69983B3}"/>
              </a:ext>
            </a:extLst>
          </p:cNvPr>
          <p:cNvSpPr/>
          <p:nvPr/>
        </p:nvSpPr>
        <p:spPr bwMode="gray">
          <a:xfrm>
            <a:off x="5645888" y="3291154"/>
            <a:ext cx="5832261" cy="914400"/>
          </a:xfrm>
          <a:prstGeom prst="roundRect">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業者可依據公司自身風險胃納程度訂定其高</a:t>
            </a:r>
            <a:r>
              <a:rPr lang="en-US" altLang="zh-TW" sz="1600" b="1" dirty="0">
                <a:solidFill>
                  <a:schemeClr val="bg1"/>
                </a:solidFill>
              </a:rPr>
              <a:t>/</a:t>
            </a:r>
            <a:r>
              <a:rPr lang="zh-TW" altLang="en-US" sz="1600" b="1" dirty="0">
                <a:solidFill>
                  <a:schemeClr val="bg1"/>
                </a:solidFill>
              </a:rPr>
              <a:t>中</a:t>
            </a:r>
            <a:r>
              <a:rPr lang="en-US" altLang="zh-TW" sz="1600" b="1" dirty="0">
                <a:solidFill>
                  <a:schemeClr val="bg1"/>
                </a:solidFill>
              </a:rPr>
              <a:t>/</a:t>
            </a:r>
            <a:r>
              <a:rPr lang="zh-TW" altLang="en-US" sz="1600" b="1" dirty="0">
                <a:solidFill>
                  <a:schemeClr val="bg1"/>
                </a:solidFill>
              </a:rPr>
              <a:t>低風險判斷標準，此標準將影響本案簽核層級，並且應說明針對風險事項之管控措施、緊急應變計劃及終止委託機制</a:t>
            </a:r>
            <a:r>
              <a:rPr lang="en-US" altLang="zh-TW" sz="1600" b="1" dirty="0">
                <a:solidFill>
                  <a:schemeClr val="bg1"/>
                </a:solidFill>
              </a:rPr>
              <a:t>(</a:t>
            </a:r>
            <a:r>
              <a:rPr lang="zh-TW" altLang="en-US" sz="1600" b="1" dirty="0">
                <a:solidFill>
                  <a:schemeClr val="bg1"/>
                </a:solidFill>
              </a:rPr>
              <a:t>如有需要</a:t>
            </a:r>
            <a:r>
              <a:rPr lang="en-US" altLang="zh-TW" sz="1600" b="1" dirty="0">
                <a:solidFill>
                  <a:schemeClr val="bg1"/>
                </a:solidFill>
              </a:rPr>
              <a:t>)</a:t>
            </a:r>
            <a:endParaRPr lang="zh-TW" altLang="en-US" sz="1600" b="1" dirty="0">
              <a:solidFill>
                <a:schemeClr val="bg1"/>
              </a:solidFill>
            </a:endParaRPr>
          </a:p>
        </p:txBody>
      </p:sp>
      <p:sp>
        <p:nvSpPr>
          <p:cNvPr id="44" name="矩形: 圓角 43">
            <a:extLst>
              <a:ext uri="{FF2B5EF4-FFF2-40B4-BE49-F238E27FC236}">
                <a16:creationId xmlns:a16="http://schemas.microsoft.com/office/drawing/2014/main" id="{B2A2BEBC-18BD-4E1A-49BC-D0B7C9E62254}"/>
              </a:ext>
            </a:extLst>
          </p:cNvPr>
          <p:cNvSpPr/>
          <p:nvPr/>
        </p:nvSpPr>
        <p:spPr bwMode="gray">
          <a:xfrm>
            <a:off x="5645888" y="4441696"/>
            <a:ext cx="5832261" cy="914400"/>
          </a:xfrm>
          <a:prstGeom prst="roundRect">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為判斷廠商是否有足夠能力及信用承接此案，建議可於進入採購流程前使用本表進行評估，並酌請廠商提供相關證明。</a:t>
            </a:r>
            <a:endParaRPr lang="en-US" altLang="zh-TW" sz="1600" b="1" dirty="0">
              <a:solidFill>
                <a:schemeClr val="bg1"/>
              </a:solidFill>
            </a:endParaRPr>
          </a:p>
          <a:p>
            <a:pPr algn="ctr">
              <a:lnSpc>
                <a:spcPct val="106000"/>
              </a:lnSpc>
              <a:buFont typeface="Wingdings 2" pitchFamily="18" charset="2"/>
              <a:buNone/>
            </a:pPr>
            <a:r>
              <a:rPr lang="zh-TW" altLang="en-US" sz="1600" b="1" dirty="0">
                <a:solidFill>
                  <a:schemeClr val="bg1"/>
                </a:solidFill>
              </a:rPr>
              <a:t>建議與業者原有之選商條件</a:t>
            </a:r>
            <a:r>
              <a:rPr lang="en-US" altLang="zh-TW" sz="1600" b="1" dirty="0">
                <a:solidFill>
                  <a:schemeClr val="bg1"/>
                </a:solidFill>
              </a:rPr>
              <a:t>(</a:t>
            </a:r>
            <a:r>
              <a:rPr lang="zh-TW" altLang="en-US" sz="1600" b="1" dirty="0">
                <a:solidFill>
                  <a:schemeClr val="bg1"/>
                </a:solidFill>
              </a:rPr>
              <a:t>表單</a:t>
            </a:r>
            <a:r>
              <a:rPr lang="en-US" altLang="zh-TW" sz="1600" b="1" dirty="0">
                <a:solidFill>
                  <a:schemeClr val="bg1"/>
                </a:solidFill>
              </a:rPr>
              <a:t>)</a:t>
            </a:r>
            <a:r>
              <a:rPr lang="zh-TW" altLang="en-US" sz="1600" b="1" dirty="0">
                <a:solidFill>
                  <a:schemeClr val="bg1"/>
                </a:solidFill>
              </a:rPr>
              <a:t>進行結合，避免重工。</a:t>
            </a:r>
          </a:p>
        </p:txBody>
      </p:sp>
    </p:spTree>
    <p:extLst>
      <p:ext uri="{BB962C8B-B14F-4D97-AF65-F5344CB8AC3E}">
        <p14:creationId xmlns:p14="http://schemas.microsoft.com/office/powerpoint/2010/main" val="2940506857"/>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說明手冊</a:t>
            </a:r>
            <a:r>
              <a:rPr lang="en-US" altLang="zh-TW" b="1" dirty="0"/>
              <a:t>-</a:t>
            </a:r>
            <a:r>
              <a:rPr lang="zh-TW" altLang="en-US" b="1" dirty="0"/>
              <a:t>風險基礎方法之委外管理架構</a:t>
            </a:r>
            <a:r>
              <a:rPr lang="en-US" altLang="zh-TW" b="1" dirty="0"/>
              <a:t>(</a:t>
            </a:r>
            <a:r>
              <a:rPr lang="zh-TW" altLang="en-US" b="1" dirty="0"/>
              <a:t>附件二、重大性評估表</a:t>
            </a:r>
            <a:r>
              <a:rPr lang="en-US" altLang="zh-TW" b="1" dirty="0"/>
              <a:t>)</a:t>
            </a:r>
            <a:endParaRPr lang="zh-TW" altLang="en-US" b="1" dirty="0"/>
          </a:p>
        </p:txBody>
      </p:sp>
      <p:sp>
        <p:nvSpPr>
          <p:cNvPr id="5" name="矩形: 圓角 4">
            <a:extLst>
              <a:ext uri="{FF2B5EF4-FFF2-40B4-BE49-F238E27FC236}">
                <a16:creationId xmlns:a16="http://schemas.microsoft.com/office/drawing/2014/main" id="{68E4FFD1-7859-BEA4-A2B4-D3657924EA61}"/>
              </a:ext>
            </a:extLst>
          </p:cNvPr>
          <p:cNvSpPr/>
          <p:nvPr/>
        </p:nvSpPr>
        <p:spPr bwMode="gray">
          <a:xfrm>
            <a:off x="469901" y="1022572"/>
            <a:ext cx="3413051" cy="542260"/>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風險基礎方法之委外管理架構</a:t>
            </a:r>
          </a:p>
        </p:txBody>
      </p:sp>
      <p:cxnSp>
        <p:nvCxnSpPr>
          <p:cNvPr id="7" name="直線接點 6">
            <a:extLst>
              <a:ext uri="{FF2B5EF4-FFF2-40B4-BE49-F238E27FC236}">
                <a16:creationId xmlns:a16="http://schemas.microsoft.com/office/drawing/2014/main" id="{DA0ECE32-AF59-AB6D-B90D-BB4C0342C4A0}"/>
              </a:ext>
            </a:extLst>
          </p:cNvPr>
          <p:cNvCxnSpPr>
            <a:cxnSpLocks/>
          </p:cNvCxnSpPr>
          <p:nvPr/>
        </p:nvCxnSpPr>
        <p:spPr>
          <a:xfrm flipH="1">
            <a:off x="1233376" y="1579968"/>
            <a:ext cx="1" cy="60317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矩形: 圓角 7">
            <a:extLst>
              <a:ext uri="{FF2B5EF4-FFF2-40B4-BE49-F238E27FC236}">
                <a16:creationId xmlns:a16="http://schemas.microsoft.com/office/drawing/2014/main" id="{1F886A15-59C9-3593-213F-7361AD6638B8}"/>
              </a:ext>
            </a:extLst>
          </p:cNvPr>
          <p:cNvSpPr/>
          <p:nvPr/>
        </p:nvSpPr>
        <p:spPr bwMode="gray">
          <a:xfrm>
            <a:off x="2407971" y="1887165"/>
            <a:ext cx="2546801" cy="591953"/>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重大性評估表</a:t>
            </a:r>
            <a:r>
              <a:rPr lang="en-US" altLang="zh-TW" sz="1600" b="1" dirty="0">
                <a:solidFill>
                  <a:schemeClr val="bg1"/>
                </a:solidFill>
              </a:rPr>
              <a:t>(</a:t>
            </a:r>
            <a:r>
              <a:rPr lang="zh-TW" altLang="en-US" sz="1600" b="1" dirty="0">
                <a:solidFill>
                  <a:schemeClr val="bg1"/>
                </a:solidFill>
              </a:rPr>
              <a:t>附件二</a:t>
            </a:r>
            <a:r>
              <a:rPr lang="en-US" altLang="zh-TW" sz="1600" b="1" dirty="0">
                <a:solidFill>
                  <a:schemeClr val="bg1"/>
                </a:solidFill>
              </a:rPr>
              <a:t>)</a:t>
            </a:r>
            <a:endParaRPr lang="zh-TW" altLang="en-US" sz="1600" b="1" dirty="0">
              <a:solidFill>
                <a:schemeClr val="bg1"/>
              </a:solidFill>
            </a:endParaRPr>
          </a:p>
        </p:txBody>
      </p:sp>
      <p:cxnSp>
        <p:nvCxnSpPr>
          <p:cNvPr id="30" name="直線接點 29">
            <a:extLst>
              <a:ext uri="{FF2B5EF4-FFF2-40B4-BE49-F238E27FC236}">
                <a16:creationId xmlns:a16="http://schemas.microsoft.com/office/drawing/2014/main" id="{3BF7FF3B-FC86-795A-9B2D-68D905C225E9}"/>
              </a:ext>
            </a:extLst>
          </p:cNvPr>
          <p:cNvCxnSpPr>
            <a:cxnSpLocks/>
            <a:endCxn id="8" idx="1"/>
          </p:cNvCxnSpPr>
          <p:nvPr/>
        </p:nvCxnSpPr>
        <p:spPr>
          <a:xfrm>
            <a:off x="1233376" y="2183142"/>
            <a:ext cx="117459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直線接點 33">
            <a:extLst>
              <a:ext uri="{FF2B5EF4-FFF2-40B4-BE49-F238E27FC236}">
                <a16:creationId xmlns:a16="http://schemas.microsoft.com/office/drawing/2014/main" id="{0CA4E743-E6A6-00CD-9A1D-3B9A01F2E9C3}"/>
              </a:ext>
            </a:extLst>
          </p:cNvPr>
          <p:cNvCxnSpPr>
            <a:cxnSpLocks/>
            <a:stCxn id="8" idx="3"/>
          </p:cNvCxnSpPr>
          <p:nvPr/>
        </p:nvCxnSpPr>
        <p:spPr>
          <a:xfrm flipV="1">
            <a:off x="4954772" y="2183141"/>
            <a:ext cx="691116" cy="1"/>
          </a:xfrm>
          <a:prstGeom prst="line">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矩形: 圓角 41">
            <a:extLst>
              <a:ext uri="{FF2B5EF4-FFF2-40B4-BE49-F238E27FC236}">
                <a16:creationId xmlns:a16="http://schemas.microsoft.com/office/drawing/2014/main" id="{607314A8-465E-A866-916E-AB0FFD2EA0F4}"/>
              </a:ext>
            </a:extLst>
          </p:cNvPr>
          <p:cNvSpPr/>
          <p:nvPr/>
        </p:nvSpPr>
        <p:spPr bwMode="gray">
          <a:xfrm>
            <a:off x="5645888" y="1725941"/>
            <a:ext cx="5832261" cy="914400"/>
          </a:xfrm>
          <a:prstGeom prst="roundRect">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如案件屬重大性，需為其訂定強化之控管及緊急應變措施</a:t>
            </a:r>
          </a:p>
        </p:txBody>
      </p:sp>
      <p:graphicFrame>
        <p:nvGraphicFramePr>
          <p:cNvPr id="6" name="表格 5">
            <a:extLst>
              <a:ext uri="{FF2B5EF4-FFF2-40B4-BE49-F238E27FC236}">
                <a16:creationId xmlns:a16="http://schemas.microsoft.com/office/drawing/2014/main" id="{F7C85A33-D6D5-1DB9-F750-73A49E7018A0}"/>
              </a:ext>
            </a:extLst>
          </p:cNvPr>
          <p:cNvGraphicFramePr>
            <a:graphicFrameLocks noGrp="1"/>
          </p:cNvGraphicFramePr>
          <p:nvPr>
            <p:extLst>
              <p:ext uri="{D42A27DB-BD31-4B8C-83A1-F6EECF244321}">
                <p14:modId xmlns:p14="http://schemas.microsoft.com/office/powerpoint/2010/main" val="1681300402"/>
              </p:ext>
            </p:extLst>
          </p:nvPr>
        </p:nvGraphicFramePr>
        <p:xfrm>
          <a:off x="469901" y="2914249"/>
          <a:ext cx="11252200" cy="3279535"/>
        </p:xfrm>
        <a:graphic>
          <a:graphicData uri="http://schemas.openxmlformats.org/drawingml/2006/table">
            <a:tbl>
              <a:tblPr firstRow="1" firstCol="1">
                <a:tableStyleId>{5C22544A-7EE6-4342-B048-85BDC9FD1C3A}</a:tableStyleId>
              </a:tblPr>
              <a:tblGrid>
                <a:gridCol w="858572">
                  <a:extLst>
                    <a:ext uri="{9D8B030D-6E8A-4147-A177-3AD203B41FA5}">
                      <a16:colId xmlns:a16="http://schemas.microsoft.com/office/drawing/2014/main" val="622617687"/>
                    </a:ext>
                  </a:extLst>
                </a:gridCol>
                <a:gridCol w="1435395">
                  <a:extLst>
                    <a:ext uri="{9D8B030D-6E8A-4147-A177-3AD203B41FA5}">
                      <a16:colId xmlns:a16="http://schemas.microsoft.com/office/drawing/2014/main" val="3606213135"/>
                    </a:ext>
                  </a:extLst>
                </a:gridCol>
                <a:gridCol w="4500111">
                  <a:extLst>
                    <a:ext uri="{9D8B030D-6E8A-4147-A177-3AD203B41FA5}">
                      <a16:colId xmlns:a16="http://schemas.microsoft.com/office/drawing/2014/main" val="2954483351"/>
                    </a:ext>
                  </a:extLst>
                </a:gridCol>
                <a:gridCol w="1755343">
                  <a:extLst>
                    <a:ext uri="{9D8B030D-6E8A-4147-A177-3AD203B41FA5}">
                      <a16:colId xmlns:a16="http://schemas.microsoft.com/office/drawing/2014/main" val="303004154"/>
                    </a:ext>
                  </a:extLst>
                </a:gridCol>
                <a:gridCol w="2702779">
                  <a:extLst>
                    <a:ext uri="{9D8B030D-6E8A-4147-A177-3AD203B41FA5}">
                      <a16:colId xmlns:a16="http://schemas.microsoft.com/office/drawing/2014/main" val="256151538"/>
                    </a:ext>
                  </a:extLst>
                </a:gridCol>
              </a:tblGrid>
              <a:tr h="511107">
                <a:tc>
                  <a:txBody>
                    <a:bodyPr/>
                    <a:lstStyle/>
                    <a:p>
                      <a:pPr marR="93980" algn="ctr">
                        <a:lnSpc>
                          <a:spcPct val="100000"/>
                        </a:lnSpc>
                        <a:tabLst>
                          <a:tab pos="3028950" algn="ctr"/>
                          <a:tab pos="6625590" algn="r"/>
                        </a:tabLst>
                      </a:pPr>
                      <a:r>
                        <a:rPr lang="zh-TW" sz="2000" kern="0" spc="50" dirty="0">
                          <a:effectLst/>
                        </a:rPr>
                        <a:t>項次</a:t>
                      </a:r>
                      <a:endParaRPr lang="zh-TW" sz="32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443" marR="68443" marT="0" marB="0" anchor="ctr"/>
                </a:tc>
                <a:tc>
                  <a:txBody>
                    <a:bodyPr/>
                    <a:lstStyle/>
                    <a:p>
                      <a:pPr marR="93980" algn="ctr">
                        <a:lnSpc>
                          <a:spcPct val="100000"/>
                        </a:lnSpc>
                        <a:tabLst>
                          <a:tab pos="3028950" algn="ctr"/>
                          <a:tab pos="6625590" algn="r"/>
                        </a:tabLst>
                      </a:pPr>
                      <a:r>
                        <a:rPr lang="zh-TW" sz="2000" kern="0" spc="50">
                          <a:effectLst/>
                        </a:rPr>
                        <a:t>項目</a:t>
                      </a:r>
                      <a:endParaRPr lang="zh-TW" sz="3200" kern="100">
                        <a:effectLst/>
                        <a:latin typeface="Calibri" panose="020F0502020204030204" pitchFamily="34" charset="0"/>
                        <a:ea typeface="新細明體" panose="02020500000000000000" pitchFamily="18" charset="-120"/>
                        <a:cs typeface="Cordia New" panose="020B0304020202020204" pitchFamily="34" charset="-34"/>
                      </a:endParaRPr>
                    </a:p>
                  </a:txBody>
                  <a:tcPr marL="68443" marR="68443" marT="0" marB="0" anchor="ctr"/>
                </a:tc>
                <a:tc>
                  <a:txBody>
                    <a:bodyPr/>
                    <a:lstStyle/>
                    <a:p>
                      <a:pPr marR="93980" algn="ctr">
                        <a:lnSpc>
                          <a:spcPct val="100000"/>
                        </a:lnSpc>
                        <a:tabLst>
                          <a:tab pos="3028950" algn="ctr"/>
                          <a:tab pos="6625590" algn="r"/>
                        </a:tabLst>
                      </a:pPr>
                      <a:r>
                        <a:rPr lang="zh-TW" sz="2000" kern="0" dirty="0">
                          <a:effectLst/>
                        </a:rPr>
                        <a:t>評估內容</a:t>
                      </a:r>
                      <a:endParaRPr lang="zh-TW" sz="32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443" marR="68443" marT="0" marB="0" anchor="ctr"/>
                </a:tc>
                <a:tc>
                  <a:txBody>
                    <a:bodyPr/>
                    <a:lstStyle/>
                    <a:p>
                      <a:pPr marR="16510" algn="ctr">
                        <a:lnSpc>
                          <a:spcPct val="100000"/>
                        </a:lnSpc>
                      </a:pPr>
                      <a:r>
                        <a:rPr lang="zh-TW" sz="2000" kern="0" dirty="0">
                          <a:effectLst/>
                        </a:rPr>
                        <a:t>評估結果</a:t>
                      </a:r>
                      <a:endParaRPr lang="zh-TW" sz="32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443" marR="68443" marT="0" marB="0" anchor="ctr"/>
                </a:tc>
                <a:tc>
                  <a:txBody>
                    <a:bodyPr/>
                    <a:lstStyle/>
                    <a:p>
                      <a:pPr marR="93980" algn="ctr">
                        <a:lnSpc>
                          <a:spcPct val="100000"/>
                        </a:lnSpc>
                        <a:tabLst>
                          <a:tab pos="3028950" algn="ctr"/>
                          <a:tab pos="6625590" algn="r"/>
                        </a:tabLst>
                      </a:pPr>
                      <a:r>
                        <a:rPr lang="zh-TW" sz="1800" kern="0" dirty="0">
                          <a:effectLst/>
                        </a:rPr>
                        <a:t>佐證說明</a:t>
                      </a:r>
                      <a:r>
                        <a:rPr lang="en-US" sz="1800" kern="0" dirty="0">
                          <a:effectLst/>
                        </a:rPr>
                        <a:t>(</a:t>
                      </a:r>
                      <a:r>
                        <a:rPr lang="zh-TW" sz="1800" kern="0" dirty="0">
                          <a:effectLst/>
                        </a:rPr>
                        <a:t>不適用亦請說明理由</a:t>
                      </a:r>
                      <a:r>
                        <a:rPr lang="en-US" sz="1800" kern="0" dirty="0">
                          <a:effectLst/>
                        </a:rPr>
                        <a:t>)</a:t>
                      </a:r>
                      <a:endParaRPr lang="zh-TW" sz="2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443" marR="68443" marT="0" marB="0" anchor="ctr"/>
                </a:tc>
                <a:extLst>
                  <a:ext uri="{0D108BD9-81ED-4DB2-BD59-A6C34878D82A}">
                    <a16:rowId xmlns:a16="http://schemas.microsoft.com/office/drawing/2014/main" val="3323575479"/>
                  </a:ext>
                </a:extLst>
              </a:tr>
              <a:tr h="2730895">
                <a:tc>
                  <a:txBody>
                    <a:bodyPr/>
                    <a:lstStyle/>
                    <a:p>
                      <a:pPr marR="93980" algn="just">
                        <a:lnSpc>
                          <a:spcPct val="100000"/>
                        </a:lnSpc>
                        <a:tabLst>
                          <a:tab pos="3028950" algn="ctr"/>
                          <a:tab pos="6625590" algn="r"/>
                        </a:tabLst>
                      </a:pPr>
                      <a:r>
                        <a:rPr lang="en-US" sz="2000" kern="0" spc="50">
                          <a:effectLst/>
                        </a:rPr>
                        <a:t>1</a:t>
                      </a:r>
                      <a:endParaRPr lang="zh-TW" sz="3200" kern="100">
                        <a:effectLst/>
                        <a:latin typeface="Calibri" panose="020F0502020204030204" pitchFamily="34" charset="0"/>
                        <a:ea typeface="新細明體" panose="02020500000000000000" pitchFamily="18" charset="-120"/>
                        <a:cs typeface="Cordia New" panose="020B0304020202020204" pitchFamily="34" charset="-34"/>
                      </a:endParaRPr>
                    </a:p>
                  </a:txBody>
                  <a:tcPr marL="68443" marR="68443" marT="0" marB="0" anchor="ctr"/>
                </a:tc>
                <a:tc>
                  <a:txBody>
                    <a:bodyPr/>
                    <a:lstStyle/>
                    <a:p>
                      <a:pPr marR="93980" algn="ctr">
                        <a:lnSpc>
                          <a:spcPct val="100000"/>
                        </a:lnSpc>
                        <a:tabLst>
                          <a:tab pos="3028950" algn="ctr"/>
                          <a:tab pos="6625590" algn="r"/>
                        </a:tabLst>
                      </a:pPr>
                      <a:r>
                        <a:rPr lang="zh-TW" sz="2000" kern="0" dirty="0">
                          <a:effectLst/>
                        </a:rPr>
                        <a:t>業務重要性</a:t>
                      </a:r>
                      <a:endParaRPr lang="zh-TW" sz="3200" kern="100" dirty="0">
                        <a:effectLst/>
                      </a:endParaRPr>
                    </a:p>
                  </a:txBody>
                  <a:tcPr marL="68443" marR="68443" marT="0" marB="0" anchor="ctr"/>
                </a:tc>
                <a:tc>
                  <a:txBody>
                    <a:bodyPr/>
                    <a:lstStyle/>
                    <a:p>
                      <a:pPr marR="93980" algn="just">
                        <a:lnSpc>
                          <a:spcPct val="100000"/>
                        </a:lnSpc>
                        <a:tabLst>
                          <a:tab pos="3028950" algn="ctr"/>
                          <a:tab pos="6625590" algn="r"/>
                        </a:tabLst>
                      </a:pPr>
                      <a:r>
                        <a:rPr lang="zh-TW" sz="2000" kern="0" dirty="0">
                          <a:effectLst/>
                        </a:rPr>
                        <a:t>委外業務是否包含下列任一情形：</a:t>
                      </a:r>
                      <a:endParaRPr lang="zh-TW" sz="3200" kern="100" dirty="0">
                        <a:effectLst/>
                      </a:endParaRPr>
                    </a:p>
                    <a:p>
                      <a:pPr marL="166370" marR="93980" indent="-166370" algn="just">
                        <a:lnSpc>
                          <a:spcPct val="100000"/>
                        </a:lnSpc>
                        <a:spcAft>
                          <a:spcPts val="0"/>
                        </a:spcAft>
                        <a:tabLst>
                          <a:tab pos="3028950" algn="ctr"/>
                          <a:tab pos="6625590" algn="r"/>
                        </a:tabLst>
                      </a:pPr>
                      <a:r>
                        <a:rPr lang="en-US" sz="2000" kern="0" dirty="0">
                          <a:effectLst/>
                        </a:rPr>
                        <a:t>1.</a:t>
                      </a:r>
                      <a:r>
                        <a:rPr lang="zh-TW" sz="2000" kern="0" dirty="0">
                          <a:effectLst/>
                        </a:rPr>
                        <a:t>所涉業務對公司營收與獲利影響逾百分之二十</a:t>
                      </a:r>
                      <a:endParaRPr lang="zh-TW" sz="3200" kern="100" dirty="0">
                        <a:effectLst/>
                      </a:endParaRPr>
                    </a:p>
                    <a:p>
                      <a:pPr marL="166370" marR="93980" indent="-166370" algn="just">
                        <a:lnSpc>
                          <a:spcPct val="100000"/>
                        </a:lnSpc>
                        <a:spcAft>
                          <a:spcPts val="0"/>
                        </a:spcAft>
                        <a:tabLst>
                          <a:tab pos="3028950" algn="ctr"/>
                          <a:tab pos="6625590" algn="r"/>
                        </a:tabLst>
                      </a:pPr>
                      <a:r>
                        <a:rPr lang="en-US" sz="2000" kern="0" dirty="0">
                          <a:effectLst/>
                        </a:rPr>
                        <a:t>2.</a:t>
                      </a:r>
                      <a:r>
                        <a:rPr lang="zh-TW" sz="2000" kern="0" dirty="0">
                          <a:effectLst/>
                        </a:rPr>
                        <a:t>所涉業務影響百分之二十之總客戶數</a:t>
                      </a:r>
                      <a:endParaRPr lang="zh-TW" sz="3200" kern="100" dirty="0">
                        <a:effectLst/>
                      </a:endParaRPr>
                    </a:p>
                    <a:p>
                      <a:pPr marL="166370" marR="93980" indent="-166370" algn="just">
                        <a:lnSpc>
                          <a:spcPct val="100000"/>
                        </a:lnSpc>
                        <a:spcAft>
                          <a:spcPts val="0"/>
                        </a:spcAft>
                        <a:tabLst>
                          <a:tab pos="3028950" algn="ctr"/>
                          <a:tab pos="6625590" algn="r"/>
                        </a:tabLst>
                      </a:pPr>
                      <a:r>
                        <a:rPr lang="en-US" sz="2000" kern="0" dirty="0">
                          <a:effectLst/>
                        </a:rPr>
                        <a:t>3.</a:t>
                      </a:r>
                      <a:r>
                        <a:rPr lang="zh-TW" sz="2000" kern="0" dirty="0">
                          <a:effectLst/>
                        </a:rPr>
                        <a:t>所涉業務屬本公司持續營運管理計畫所列之關鍵業務流程</a:t>
                      </a:r>
                      <a:endParaRPr lang="zh-TW" sz="3200" kern="100" dirty="0">
                        <a:effectLst/>
                      </a:endParaRPr>
                    </a:p>
                  </a:txBody>
                  <a:tcPr marL="68443" marR="68443" marT="0" marB="0" anchor="ctr"/>
                </a:tc>
                <a:tc>
                  <a:txBody>
                    <a:bodyPr/>
                    <a:lstStyle/>
                    <a:p>
                      <a:pPr marR="16510">
                        <a:lnSpc>
                          <a:spcPct val="100000"/>
                        </a:lnSpc>
                      </a:pPr>
                      <a:r>
                        <a:rPr lang="zh-TW" sz="2000" kern="0" dirty="0">
                          <a:effectLst/>
                        </a:rPr>
                        <a:t>■是</a:t>
                      </a:r>
                      <a:endParaRPr lang="zh-TW" sz="3200" kern="100" dirty="0">
                        <a:effectLst/>
                      </a:endParaRPr>
                    </a:p>
                    <a:p>
                      <a:pPr marR="16510">
                        <a:lnSpc>
                          <a:spcPct val="100000"/>
                        </a:lnSpc>
                      </a:pPr>
                      <a:r>
                        <a:rPr lang="zh-TW" sz="2000" kern="0" dirty="0">
                          <a:effectLst/>
                        </a:rPr>
                        <a:t>□否</a:t>
                      </a:r>
                      <a:endParaRPr lang="zh-TW" sz="3200" kern="100" dirty="0">
                        <a:effectLst/>
                      </a:endParaRPr>
                    </a:p>
                    <a:p>
                      <a:pPr marR="16510">
                        <a:lnSpc>
                          <a:spcPct val="100000"/>
                        </a:lnSpc>
                      </a:pPr>
                      <a:r>
                        <a:rPr lang="zh-TW" sz="2000" kern="0" dirty="0">
                          <a:effectLst/>
                        </a:rPr>
                        <a:t>□不適用</a:t>
                      </a:r>
                      <a:endParaRPr lang="zh-TW" sz="3200" kern="100" dirty="0">
                        <a:effectLst/>
                      </a:endParaRPr>
                    </a:p>
                  </a:txBody>
                  <a:tcPr marL="68443" marR="68443" marT="0" marB="0" anchor="ctr"/>
                </a:tc>
                <a:tc>
                  <a:txBody>
                    <a:bodyPr/>
                    <a:lstStyle/>
                    <a:p>
                      <a:pPr marR="93980" algn="just">
                        <a:lnSpc>
                          <a:spcPct val="100000"/>
                        </a:lnSpc>
                        <a:tabLst>
                          <a:tab pos="3028950" algn="ctr"/>
                          <a:tab pos="6625590" algn="r"/>
                        </a:tabLst>
                      </a:pPr>
                      <a:r>
                        <a:rPr lang="zh-TW" sz="2000" kern="0" dirty="0">
                          <a:effectLst/>
                        </a:rPr>
                        <a:t>本案為交易資訊系統，本公司所有客戶皆使用此系統，故認定其為重大。</a:t>
                      </a:r>
                      <a:endParaRPr lang="zh-TW" sz="3200" kern="100" dirty="0">
                        <a:effectLst/>
                      </a:endParaRPr>
                    </a:p>
                  </a:txBody>
                  <a:tcPr marL="68443" marR="68443" marT="0" marB="0" anchor="ctr"/>
                </a:tc>
                <a:extLst>
                  <a:ext uri="{0D108BD9-81ED-4DB2-BD59-A6C34878D82A}">
                    <a16:rowId xmlns:a16="http://schemas.microsoft.com/office/drawing/2014/main" val="2636738995"/>
                  </a:ext>
                </a:extLst>
              </a:tr>
            </a:tbl>
          </a:graphicData>
        </a:graphic>
      </p:graphicFrame>
      <p:sp>
        <p:nvSpPr>
          <p:cNvPr id="11" name="矩形 10">
            <a:extLst>
              <a:ext uri="{FF2B5EF4-FFF2-40B4-BE49-F238E27FC236}">
                <a16:creationId xmlns:a16="http://schemas.microsoft.com/office/drawing/2014/main" id="{890CFDEC-F745-74A1-456D-8BAE26508D08}"/>
              </a:ext>
            </a:extLst>
          </p:cNvPr>
          <p:cNvSpPr/>
          <p:nvPr/>
        </p:nvSpPr>
        <p:spPr bwMode="gray">
          <a:xfrm rot="20063387">
            <a:off x="10398640" y="5611971"/>
            <a:ext cx="914400" cy="404037"/>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b="1" dirty="0">
                <a:solidFill>
                  <a:srgbClr val="FF0000"/>
                </a:solidFill>
              </a:rPr>
              <a:t>範例</a:t>
            </a:r>
          </a:p>
        </p:txBody>
      </p:sp>
    </p:spTree>
    <p:extLst>
      <p:ext uri="{BB962C8B-B14F-4D97-AF65-F5344CB8AC3E}">
        <p14:creationId xmlns:p14="http://schemas.microsoft.com/office/powerpoint/2010/main" val="2724905872"/>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說明手冊</a:t>
            </a:r>
            <a:r>
              <a:rPr lang="en-US" altLang="zh-TW" b="1" dirty="0"/>
              <a:t>-</a:t>
            </a:r>
            <a:r>
              <a:rPr lang="zh-TW" altLang="en-US" b="1" dirty="0"/>
              <a:t>風險基礎方法之委外管理架構</a:t>
            </a:r>
            <a:r>
              <a:rPr lang="en-US" altLang="zh-TW" b="1" dirty="0"/>
              <a:t>(</a:t>
            </a:r>
            <a:r>
              <a:rPr lang="zh-TW" altLang="en-US" b="1" dirty="0"/>
              <a:t>附件三、風險評估表</a:t>
            </a:r>
            <a:r>
              <a:rPr lang="en-US" altLang="zh-TW" b="1" dirty="0"/>
              <a:t>)</a:t>
            </a:r>
            <a:endParaRPr lang="zh-TW" altLang="en-US" b="1" dirty="0"/>
          </a:p>
        </p:txBody>
      </p:sp>
      <p:sp>
        <p:nvSpPr>
          <p:cNvPr id="5" name="矩形: 圓角 4">
            <a:extLst>
              <a:ext uri="{FF2B5EF4-FFF2-40B4-BE49-F238E27FC236}">
                <a16:creationId xmlns:a16="http://schemas.microsoft.com/office/drawing/2014/main" id="{68E4FFD1-7859-BEA4-A2B4-D3657924EA61}"/>
              </a:ext>
            </a:extLst>
          </p:cNvPr>
          <p:cNvSpPr/>
          <p:nvPr/>
        </p:nvSpPr>
        <p:spPr bwMode="gray">
          <a:xfrm>
            <a:off x="469901" y="1022572"/>
            <a:ext cx="3413051" cy="542260"/>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風險基礎方法之委外管理架構</a:t>
            </a:r>
          </a:p>
        </p:txBody>
      </p:sp>
      <p:cxnSp>
        <p:nvCxnSpPr>
          <p:cNvPr id="7" name="直線接點 6">
            <a:extLst>
              <a:ext uri="{FF2B5EF4-FFF2-40B4-BE49-F238E27FC236}">
                <a16:creationId xmlns:a16="http://schemas.microsoft.com/office/drawing/2014/main" id="{DA0ECE32-AF59-AB6D-B90D-BB4C0342C4A0}"/>
              </a:ext>
            </a:extLst>
          </p:cNvPr>
          <p:cNvCxnSpPr>
            <a:cxnSpLocks/>
          </p:cNvCxnSpPr>
          <p:nvPr/>
        </p:nvCxnSpPr>
        <p:spPr>
          <a:xfrm>
            <a:off x="1233377" y="1579968"/>
            <a:ext cx="0" cy="58266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矩形: 圓角 8">
            <a:extLst>
              <a:ext uri="{FF2B5EF4-FFF2-40B4-BE49-F238E27FC236}">
                <a16:creationId xmlns:a16="http://schemas.microsoft.com/office/drawing/2014/main" id="{B9D0F03A-9497-7A86-F679-324FE25773C8}"/>
              </a:ext>
            </a:extLst>
          </p:cNvPr>
          <p:cNvSpPr/>
          <p:nvPr/>
        </p:nvSpPr>
        <p:spPr bwMode="gray">
          <a:xfrm>
            <a:off x="2407971" y="1866660"/>
            <a:ext cx="2546801" cy="591953"/>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風險評估表</a:t>
            </a:r>
            <a:r>
              <a:rPr lang="en-US" altLang="zh-TW" sz="1600" b="1" dirty="0">
                <a:solidFill>
                  <a:schemeClr val="bg1"/>
                </a:solidFill>
              </a:rPr>
              <a:t>(</a:t>
            </a:r>
            <a:r>
              <a:rPr lang="zh-TW" altLang="en-US" sz="1600" b="1" dirty="0">
                <a:solidFill>
                  <a:schemeClr val="bg1"/>
                </a:solidFill>
              </a:rPr>
              <a:t>附件三</a:t>
            </a:r>
            <a:r>
              <a:rPr lang="en-US" altLang="zh-TW" sz="1600" b="1" dirty="0">
                <a:solidFill>
                  <a:schemeClr val="bg1"/>
                </a:solidFill>
              </a:rPr>
              <a:t>)</a:t>
            </a:r>
            <a:endParaRPr lang="zh-TW" altLang="en-US" sz="1600" b="1" dirty="0">
              <a:solidFill>
                <a:schemeClr val="bg1"/>
              </a:solidFill>
            </a:endParaRPr>
          </a:p>
        </p:txBody>
      </p:sp>
      <p:cxnSp>
        <p:nvCxnSpPr>
          <p:cNvPr id="21" name="直線接點 20">
            <a:extLst>
              <a:ext uri="{FF2B5EF4-FFF2-40B4-BE49-F238E27FC236}">
                <a16:creationId xmlns:a16="http://schemas.microsoft.com/office/drawing/2014/main" id="{2568D4DE-0ADE-470C-E27C-49089F85A4FB}"/>
              </a:ext>
            </a:extLst>
          </p:cNvPr>
          <p:cNvCxnSpPr>
            <a:cxnSpLocks/>
            <a:endCxn id="9" idx="1"/>
          </p:cNvCxnSpPr>
          <p:nvPr/>
        </p:nvCxnSpPr>
        <p:spPr>
          <a:xfrm>
            <a:off x="1233376" y="2162637"/>
            <a:ext cx="117459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直線接點 37">
            <a:extLst>
              <a:ext uri="{FF2B5EF4-FFF2-40B4-BE49-F238E27FC236}">
                <a16:creationId xmlns:a16="http://schemas.microsoft.com/office/drawing/2014/main" id="{52E362A6-DDD7-F9E3-6D7F-8CB86CB9E2DE}"/>
              </a:ext>
            </a:extLst>
          </p:cNvPr>
          <p:cNvCxnSpPr>
            <a:cxnSpLocks/>
            <a:stCxn id="9" idx="3"/>
            <a:endCxn id="43" idx="1"/>
          </p:cNvCxnSpPr>
          <p:nvPr/>
        </p:nvCxnSpPr>
        <p:spPr>
          <a:xfrm flipV="1">
            <a:off x="4954772" y="2153472"/>
            <a:ext cx="691116" cy="9165"/>
          </a:xfrm>
          <a:prstGeom prst="line">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3" name="矩形: 圓角 42">
            <a:extLst>
              <a:ext uri="{FF2B5EF4-FFF2-40B4-BE49-F238E27FC236}">
                <a16:creationId xmlns:a16="http://schemas.microsoft.com/office/drawing/2014/main" id="{F1DAF5DA-D83C-10BC-4F24-9163C69983B3}"/>
              </a:ext>
            </a:extLst>
          </p:cNvPr>
          <p:cNvSpPr/>
          <p:nvPr/>
        </p:nvSpPr>
        <p:spPr bwMode="gray">
          <a:xfrm>
            <a:off x="5645888" y="1696272"/>
            <a:ext cx="5832261" cy="914400"/>
          </a:xfrm>
          <a:prstGeom prst="roundRect">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業者可依據公司自身風險胃納程度訂定其高</a:t>
            </a:r>
            <a:r>
              <a:rPr lang="en-US" altLang="zh-TW" sz="1600" b="1" dirty="0">
                <a:solidFill>
                  <a:schemeClr val="bg1"/>
                </a:solidFill>
              </a:rPr>
              <a:t>/</a:t>
            </a:r>
            <a:r>
              <a:rPr lang="zh-TW" altLang="en-US" sz="1600" b="1" dirty="0">
                <a:solidFill>
                  <a:schemeClr val="bg1"/>
                </a:solidFill>
              </a:rPr>
              <a:t>中</a:t>
            </a:r>
            <a:r>
              <a:rPr lang="en-US" altLang="zh-TW" sz="1600" b="1" dirty="0">
                <a:solidFill>
                  <a:schemeClr val="bg1"/>
                </a:solidFill>
              </a:rPr>
              <a:t>/</a:t>
            </a:r>
            <a:r>
              <a:rPr lang="zh-TW" altLang="en-US" sz="1600" b="1" dirty="0">
                <a:solidFill>
                  <a:schemeClr val="bg1"/>
                </a:solidFill>
              </a:rPr>
              <a:t>低風險判斷標準，此標準將影響本案簽核層級，並且應說明針對風險事項之管控措施、緊急應變計劃及終止委託機制</a:t>
            </a:r>
            <a:r>
              <a:rPr lang="en-US" altLang="zh-TW" sz="1600" b="1" dirty="0">
                <a:solidFill>
                  <a:schemeClr val="bg1"/>
                </a:solidFill>
              </a:rPr>
              <a:t>(</a:t>
            </a:r>
            <a:r>
              <a:rPr lang="zh-TW" altLang="en-US" sz="1600" b="1" dirty="0">
                <a:solidFill>
                  <a:schemeClr val="bg1"/>
                </a:solidFill>
              </a:rPr>
              <a:t>如有需要</a:t>
            </a:r>
            <a:r>
              <a:rPr lang="en-US" altLang="zh-TW" sz="1600" b="1" dirty="0">
                <a:solidFill>
                  <a:schemeClr val="bg1"/>
                </a:solidFill>
              </a:rPr>
              <a:t>)</a:t>
            </a:r>
            <a:endParaRPr lang="zh-TW" altLang="en-US" sz="1600" b="1" dirty="0">
              <a:solidFill>
                <a:schemeClr val="bg1"/>
              </a:solidFill>
            </a:endParaRPr>
          </a:p>
        </p:txBody>
      </p:sp>
      <p:graphicFrame>
        <p:nvGraphicFramePr>
          <p:cNvPr id="6" name="表格 5">
            <a:extLst>
              <a:ext uri="{FF2B5EF4-FFF2-40B4-BE49-F238E27FC236}">
                <a16:creationId xmlns:a16="http://schemas.microsoft.com/office/drawing/2014/main" id="{CF935AD6-6F02-7077-08F3-B28AD22DC630}"/>
              </a:ext>
            </a:extLst>
          </p:cNvPr>
          <p:cNvGraphicFramePr>
            <a:graphicFrameLocks noGrp="1"/>
          </p:cNvGraphicFramePr>
          <p:nvPr>
            <p:extLst>
              <p:ext uri="{D42A27DB-BD31-4B8C-83A1-F6EECF244321}">
                <p14:modId xmlns:p14="http://schemas.microsoft.com/office/powerpoint/2010/main" val="729391302"/>
              </p:ext>
            </p:extLst>
          </p:nvPr>
        </p:nvGraphicFramePr>
        <p:xfrm>
          <a:off x="484113" y="2745306"/>
          <a:ext cx="10994026" cy="3602327"/>
        </p:xfrm>
        <a:graphic>
          <a:graphicData uri="http://schemas.openxmlformats.org/drawingml/2006/table">
            <a:tbl>
              <a:tblPr firstRow="1" firstCol="1">
                <a:tableStyleId>{5C22544A-7EE6-4342-B048-85BDC9FD1C3A}</a:tableStyleId>
              </a:tblPr>
              <a:tblGrid>
                <a:gridCol w="847460">
                  <a:extLst>
                    <a:ext uri="{9D8B030D-6E8A-4147-A177-3AD203B41FA5}">
                      <a16:colId xmlns:a16="http://schemas.microsoft.com/office/drawing/2014/main" val="458308751"/>
                    </a:ext>
                  </a:extLst>
                </a:gridCol>
                <a:gridCol w="2146015">
                  <a:extLst>
                    <a:ext uri="{9D8B030D-6E8A-4147-A177-3AD203B41FA5}">
                      <a16:colId xmlns:a16="http://schemas.microsoft.com/office/drawing/2014/main" val="1196174675"/>
                    </a:ext>
                  </a:extLst>
                </a:gridCol>
                <a:gridCol w="1168840">
                  <a:extLst>
                    <a:ext uri="{9D8B030D-6E8A-4147-A177-3AD203B41FA5}">
                      <a16:colId xmlns:a16="http://schemas.microsoft.com/office/drawing/2014/main" val="4278964734"/>
                    </a:ext>
                  </a:extLst>
                </a:gridCol>
                <a:gridCol w="3031382">
                  <a:extLst>
                    <a:ext uri="{9D8B030D-6E8A-4147-A177-3AD203B41FA5}">
                      <a16:colId xmlns:a16="http://schemas.microsoft.com/office/drawing/2014/main" val="2904790861"/>
                    </a:ext>
                  </a:extLst>
                </a:gridCol>
                <a:gridCol w="1330336">
                  <a:extLst>
                    <a:ext uri="{9D8B030D-6E8A-4147-A177-3AD203B41FA5}">
                      <a16:colId xmlns:a16="http://schemas.microsoft.com/office/drawing/2014/main" val="2449741662"/>
                    </a:ext>
                  </a:extLst>
                </a:gridCol>
                <a:gridCol w="1014304">
                  <a:extLst>
                    <a:ext uri="{9D8B030D-6E8A-4147-A177-3AD203B41FA5}">
                      <a16:colId xmlns:a16="http://schemas.microsoft.com/office/drawing/2014/main" val="2413987435"/>
                    </a:ext>
                  </a:extLst>
                </a:gridCol>
                <a:gridCol w="1455689">
                  <a:extLst>
                    <a:ext uri="{9D8B030D-6E8A-4147-A177-3AD203B41FA5}">
                      <a16:colId xmlns:a16="http://schemas.microsoft.com/office/drawing/2014/main" val="2064342014"/>
                    </a:ext>
                  </a:extLst>
                </a:gridCol>
              </a:tblGrid>
              <a:tr h="1101154">
                <a:tc>
                  <a:txBody>
                    <a:bodyPr/>
                    <a:lstStyle/>
                    <a:p>
                      <a:pPr algn="ctr">
                        <a:lnSpc>
                          <a:spcPct val="100000"/>
                        </a:lnSpc>
                        <a:tabLst>
                          <a:tab pos="3028950" algn="ctr"/>
                          <a:tab pos="6625590" algn="r"/>
                        </a:tabLst>
                      </a:pPr>
                      <a:r>
                        <a:rPr lang="zh-TW" sz="2000" kern="0" dirty="0">
                          <a:effectLst/>
                        </a:rPr>
                        <a:t>序號</a:t>
                      </a:r>
                      <a:endParaRPr lang="zh-TW" sz="20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a:txBody>
                    <a:bodyPr/>
                    <a:lstStyle/>
                    <a:p>
                      <a:pPr algn="ctr">
                        <a:lnSpc>
                          <a:spcPct val="100000"/>
                        </a:lnSpc>
                        <a:tabLst>
                          <a:tab pos="3028950" algn="ctr"/>
                          <a:tab pos="6625590" algn="r"/>
                        </a:tabLst>
                      </a:pPr>
                      <a:r>
                        <a:rPr lang="zh-TW" sz="2000" kern="0" dirty="0">
                          <a:effectLst/>
                        </a:rPr>
                        <a:t>評估項目</a:t>
                      </a:r>
                      <a:endParaRPr lang="zh-TW" sz="20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gridSpan="2">
                  <a:txBody>
                    <a:bodyPr/>
                    <a:lstStyle/>
                    <a:p>
                      <a:pPr algn="ctr">
                        <a:lnSpc>
                          <a:spcPct val="100000"/>
                        </a:lnSpc>
                        <a:tabLst>
                          <a:tab pos="3028950" algn="ctr"/>
                          <a:tab pos="6625590" algn="r"/>
                        </a:tabLst>
                      </a:pPr>
                      <a:r>
                        <a:rPr lang="zh-TW" sz="2000" kern="0" dirty="0">
                          <a:effectLst/>
                        </a:rPr>
                        <a:t>影響評估</a:t>
                      </a:r>
                      <a:br>
                        <a:rPr lang="en-US" sz="2000" kern="0" dirty="0">
                          <a:effectLst/>
                        </a:rPr>
                      </a:br>
                      <a:r>
                        <a:rPr lang="en-US" sz="2000" kern="0" dirty="0">
                          <a:effectLst/>
                        </a:rPr>
                        <a:t>(</a:t>
                      </a:r>
                      <a:r>
                        <a:rPr lang="zh-TW" sz="2000" kern="0" dirty="0">
                          <a:effectLst/>
                        </a:rPr>
                        <a:t>高</a:t>
                      </a:r>
                      <a:r>
                        <a:rPr lang="en-US" sz="2000" kern="0" dirty="0">
                          <a:effectLst/>
                        </a:rPr>
                        <a:t>/</a:t>
                      </a:r>
                      <a:r>
                        <a:rPr lang="zh-TW" sz="2000" kern="0" dirty="0">
                          <a:effectLst/>
                        </a:rPr>
                        <a:t>中</a:t>
                      </a:r>
                      <a:r>
                        <a:rPr lang="en-US" sz="2000" kern="0" dirty="0">
                          <a:effectLst/>
                        </a:rPr>
                        <a:t>/</a:t>
                      </a:r>
                      <a:r>
                        <a:rPr lang="zh-TW" sz="2000" kern="0" dirty="0">
                          <a:effectLst/>
                        </a:rPr>
                        <a:t>低</a:t>
                      </a:r>
                      <a:r>
                        <a:rPr lang="en-US" sz="2000" kern="0" dirty="0">
                          <a:effectLst/>
                        </a:rPr>
                        <a:t>)</a:t>
                      </a:r>
                      <a:endParaRPr lang="zh-TW" sz="20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hMerge="1">
                  <a:txBody>
                    <a:bodyPr/>
                    <a:lstStyle/>
                    <a:p>
                      <a:endParaRPr lang="zh-TW" altLang="en-US"/>
                    </a:p>
                  </a:txBody>
                  <a:tcPr/>
                </a:tc>
                <a:tc>
                  <a:txBody>
                    <a:bodyPr/>
                    <a:lstStyle/>
                    <a:p>
                      <a:pPr algn="ctr">
                        <a:lnSpc>
                          <a:spcPct val="100000"/>
                        </a:lnSpc>
                        <a:tabLst>
                          <a:tab pos="3028950" algn="ctr"/>
                          <a:tab pos="6625590" algn="r"/>
                        </a:tabLst>
                      </a:pPr>
                      <a:r>
                        <a:rPr lang="zh-TW" sz="2000" kern="0" dirty="0">
                          <a:effectLst/>
                        </a:rPr>
                        <a:t>佐證說明</a:t>
                      </a:r>
                      <a:endParaRPr lang="zh-TW" sz="20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a:txBody>
                    <a:bodyPr/>
                    <a:lstStyle/>
                    <a:p>
                      <a:pPr algn="ctr">
                        <a:lnSpc>
                          <a:spcPct val="100000"/>
                        </a:lnSpc>
                        <a:tabLst>
                          <a:tab pos="3028950" algn="ctr"/>
                          <a:tab pos="6625590" algn="r"/>
                        </a:tabLst>
                      </a:pPr>
                      <a:r>
                        <a:rPr lang="zh-TW" sz="1600" kern="0" dirty="0">
                          <a:effectLst/>
                        </a:rPr>
                        <a:t>若為高風險請補充說明補償性措施</a:t>
                      </a:r>
                      <a:endParaRPr lang="zh-TW" sz="16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a:txBody>
                    <a:bodyPr/>
                    <a:lstStyle/>
                    <a:p>
                      <a:pPr algn="ctr">
                        <a:lnSpc>
                          <a:spcPct val="100000"/>
                        </a:lnSpc>
                        <a:tabLst>
                          <a:tab pos="3028950" algn="ctr"/>
                          <a:tab pos="6625590" algn="r"/>
                        </a:tabLst>
                      </a:pPr>
                      <a:r>
                        <a:rPr lang="zh-TW" sz="2000" kern="0" dirty="0">
                          <a:effectLst/>
                        </a:rPr>
                        <a:t>註解</a:t>
                      </a:r>
                      <a:endParaRPr lang="zh-TW" sz="20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extLst>
                  <a:ext uri="{0D108BD9-81ED-4DB2-BD59-A6C34878D82A}">
                    <a16:rowId xmlns:a16="http://schemas.microsoft.com/office/drawing/2014/main" val="3729236450"/>
                  </a:ext>
                </a:extLst>
              </a:tr>
              <a:tr h="279812">
                <a:tc>
                  <a:txBody>
                    <a:bodyPr/>
                    <a:lstStyle/>
                    <a:p>
                      <a:pPr algn="ctr">
                        <a:lnSpc>
                          <a:spcPct val="100000"/>
                        </a:lnSpc>
                        <a:tabLst>
                          <a:tab pos="3028950" algn="ctr"/>
                          <a:tab pos="6625590" algn="r"/>
                        </a:tabLst>
                      </a:pPr>
                      <a:r>
                        <a:rPr lang="en-US" sz="1600" kern="0">
                          <a:effectLst/>
                        </a:rPr>
                        <a:t>1</a:t>
                      </a:r>
                      <a:endParaRPr lang="zh-TW" sz="1600" kern="10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gridSpan="6">
                  <a:txBody>
                    <a:bodyPr/>
                    <a:lstStyle/>
                    <a:p>
                      <a:pPr marR="93980" algn="ctr">
                        <a:lnSpc>
                          <a:spcPct val="100000"/>
                        </a:lnSpc>
                        <a:tabLst>
                          <a:tab pos="3028950" algn="ctr"/>
                          <a:tab pos="6625590" algn="r"/>
                        </a:tabLst>
                      </a:pPr>
                      <a:r>
                        <a:rPr lang="zh-TW" sz="1600" kern="0">
                          <a:effectLst/>
                        </a:rPr>
                        <a:t>法令遵循風險評估</a:t>
                      </a:r>
                      <a:endParaRPr lang="zh-TW" sz="1600" kern="10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extLst>
                  <a:ext uri="{0D108BD9-81ED-4DB2-BD59-A6C34878D82A}">
                    <a16:rowId xmlns:a16="http://schemas.microsoft.com/office/drawing/2014/main" val="1248963194"/>
                  </a:ext>
                </a:extLst>
              </a:tr>
              <a:tr h="576366">
                <a:tc rowSpan="3">
                  <a:txBody>
                    <a:bodyPr/>
                    <a:lstStyle/>
                    <a:p>
                      <a:pPr algn="ctr">
                        <a:lnSpc>
                          <a:spcPct val="100000"/>
                        </a:lnSpc>
                        <a:tabLst>
                          <a:tab pos="3028950" algn="ctr"/>
                          <a:tab pos="6625590" algn="r"/>
                        </a:tabLst>
                      </a:pPr>
                      <a:r>
                        <a:rPr lang="en-US" sz="1600" kern="0">
                          <a:effectLst/>
                        </a:rPr>
                        <a:t>1-1</a:t>
                      </a:r>
                      <a:endParaRPr lang="zh-TW" sz="1600" kern="10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rowSpan="3">
                  <a:txBody>
                    <a:bodyPr/>
                    <a:lstStyle/>
                    <a:p>
                      <a:pPr algn="ctr">
                        <a:lnSpc>
                          <a:spcPct val="100000"/>
                        </a:lnSpc>
                        <a:tabLst>
                          <a:tab pos="3028950" algn="ctr"/>
                          <a:tab pos="6625590" algn="r"/>
                        </a:tabLst>
                      </a:pPr>
                      <a:r>
                        <a:rPr lang="zh-TW" sz="1600" kern="0" dirty="0">
                          <a:effectLst/>
                        </a:rPr>
                        <a:t>除證券交易法、洗錢防制法、個人資料保護法、消費者保護法、金融消費者保護法及證券商作業委託他人處理應注意事項外，委外範圍所涉及之業務項目是否有其他法令規範需遵循</a:t>
                      </a:r>
                      <a:endParaRPr lang="zh-TW" sz="16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a:txBody>
                    <a:bodyPr/>
                    <a:lstStyle/>
                    <a:p>
                      <a:pPr algn="ctr">
                        <a:lnSpc>
                          <a:spcPct val="100000"/>
                        </a:lnSpc>
                        <a:tabLst>
                          <a:tab pos="3028950" algn="ctr"/>
                          <a:tab pos="6625590" algn="r"/>
                        </a:tabLst>
                      </a:pPr>
                      <a:r>
                        <a:rPr lang="zh-TW" sz="1600" kern="0" dirty="0">
                          <a:effectLst/>
                        </a:rPr>
                        <a:t>■高</a:t>
                      </a:r>
                      <a:endParaRPr lang="zh-TW" sz="16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a:txBody>
                    <a:bodyPr/>
                    <a:lstStyle/>
                    <a:p>
                      <a:pPr algn="l">
                        <a:lnSpc>
                          <a:spcPct val="100000"/>
                        </a:lnSpc>
                        <a:tabLst>
                          <a:tab pos="3028950" algn="ctr"/>
                          <a:tab pos="6625590" algn="r"/>
                        </a:tabLst>
                      </a:pPr>
                      <a:r>
                        <a:rPr lang="zh-TW" sz="1600" kern="0" dirty="0">
                          <a:effectLst/>
                        </a:rPr>
                        <a:t>委外項目涉及一項以上法令法規要求</a:t>
                      </a:r>
                      <a:endParaRPr lang="zh-TW" sz="16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rowSpan="3">
                  <a:txBody>
                    <a:bodyPr/>
                    <a:lstStyle/>
                    <a:p>
                      <a:pPr algn="ctr">
                        <a:lnSpc>
                          <a:spcPct val="100000"/>
                        </a:lnSpc>
                        <a:tabLst>
                          <a:tab pos="3028950" algn="ctr"/>
                          <a:tab pos="6625590" algn="r"/>
                        </a:tabLst>
                      </a:pPr>
                      <a:r>
                        <a:rPr lang="zh-TW" sz="1600" kern="0" dirty="0">
                          <a:effectLst/>
                        </a:rPr>
                        <a:t>本案涉及處理客戶個資，故需遵守個資法。</a:t>
                      </a:r>
                      <a:endParaRPr lang="zh-TW" sz="1600" kern="100" dirty="0">
                        <a:effectLst/>
                      </a:endParaRPr>
                    </a:p>
                  </a:txBody>
                  <a:tcPr marL="68580" marR="68580" marT="0" marB="0" anchor="ctr"/>
                </a:tc>
                <a:tc rowSpan="3">
                  <a:txBody>
                    <a:bodyPr/>
                    <a:lstStyle/>
                    <a:p>
                      <a:pPr algn="ctr">
                        <a:lnSpc>
                          <a:spcPct val="100000"/>
                        </a:lnSpc>
                        <a:tabLst>
                          <a:tab pos="3028950" algn="ctr"/>
                          <a:tab pos="6625590" algn="r"/>
                        </a:tabLst>
                      </a:pPr>
                      <a:r>
                        <a:rPr lang="zh-TW" sz="1600" kern="0" dirty="0">
                          <a:effectLst/>
                        </a:rPr>
                        <a:t>本案於合約中與廠商訂定相關條款與罰則。</a:t>
                      </a:r>
                      <a:endParaRPr lang="zh-TW" sz="1600" kern="100" dirty="0">
                        <a:effectLst/>
                      </a:endParaRPr>
                    </a:p>
                  </a:txBody>
                  <a:tcPr marL="68580" marR="68580" marT="0" marB="0" anchor="ctr"/>
                </a:tc>
                <a:tc rowSpan="3">
                  <a:txBody>
                    <a:bodyPr/>
                    <a:lstStyle/>
                    <a:p>
                      <a:pPr algn="ctr">
                        <a:lnSpc>
                          <a:spcPct val="100000"/>
                        </a:lnSpc>
                      </a:pPr>
                      <a:r>
                        <a:rPr lang="zh-TW" sz="1600" kern="0" dirty="0">
                          <a:effectLst/>
                        </a:rPr>
                        <a:t>此問項設計為簡易版，更進一步可考量到所牽涉之法令法規之可能面臨罰款金額大小等。</a:t>
                      </a:r>
                      <a:endParaRPr lang="zh-TW" sz="16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extLst>
                  <a:ext uri="{0D108BD9-81ED-4DB2-BD59-A6C34878D82A}">
                    <a16:rowId xmlns:a16="http://schemas.microsoft.com/office/drawing/2014/main" val="525202254"/>
                  </a:ext>
                </a:extLst>
              </a:tr>
              <a:tr h="576366">
                <a:tc vMerge="1">
                  <a:txBody>
                    <a:bodyPr/>
                    <a:lstStyle/>
                    <a:p>
                      <a:endParaRPr lang="zh-TW" altLang="en-US"/>
                    </a:p>
                  </a:txBody>
                  <a:tcPr/>
                </a:tc>
                <a:tc vMerge="1">
                  <a:txBody>
                    <a:bodyPr/>
                    <a:lstStyle/>
                    <a:p>
                      <a:endParaRPr lang="zh-TW" altLang="en-US"/>
                    </a:p>
                  </a:txBody>
                  <a:tcPr/>
                </a:tc>
                <a:tc>
                  <a:txBody>
                    <a:bodyPr/>
                    <a:lstStyle/>
                    <a:p>
                      <a:pPr algn="ctr">
                        <a:lnSpc>
                          <a:spcPct val="100000"/>
                        </a:lnSpc>
                        <a:tabLst>
                          <a:tab pos="3028950" algn="ctr"/>
                          <a:tab pos="6625590" algn="r"/>
                        </a:tabLst>
                      </a:pPr>
                      <a:r>
                        <a:rPr lang="zh-TW" sz="1600" kern="0" dirty="0">
                          <a:effectLst/>
                        </a:rPr>
                        <a:t>□中</a:t>
                      </a:r>
                      <a:endParaRPr lang="zh-TW" sz="16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a:txBody>
                    <a:bodyPr/>
                    <a:lstStyle/>
                    <a:p>
                      <a:pPr algn="l">
                        <a:lnSpc>
                          <a:spcPct val="100000"/>
                        </a:lnSpc>
                        <a:tabLst>
                          <a:tab pos="3028950" algn="ctr"/>
                          <a:tab pos="6625590" algn="r"/>
                        </a:tabLst>
                      </a:pPr>
                      <a:r>
                        <a:rPr lang="zh-TW" sz="1600" kern="0" dirty="0">
                          <a:effectLst/>
                        </a:rPr>
                        <a:t>委外項目涉及一項以上自律規範要求</a:t>
                      </a:r>
                      <a:endParaRPr lang="zh-TW" sz="16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vMerge="1">
                  <a:txBody>
                    <a:bodyPr/>
                    <a:lstStyle/>
                    <a:p>
                      <a:endParaRPr lang="zh-TW" altLang="en-US"/>
                    </a:p>
                  </a:txBody>
                  <a:tcPr/>
                </a:tc>
                <a:tc vMerge="1">
                  <a:txBody>
                    <a:bodyPr/>
                    <a:lstStyle/>
                    <a:p>
                      <a:endParaRPr lang="zh-TW" altLang="en-US"/>
                    </a:p>
                  </a:txBody>
                  <a:tcPr/>
                </a:tc>
                <a:tc vMerge="1">
                  <a:txBody>
                    <a:bodyPr/>
                    <a:lstStyle/>
                    <a:p>
                      <a:endParaRPr lang="zh-TW" altLang="en-US"/>
                    </a:p>
                  </a:txBody>
                  <a:tcPr/>
                </a:tc>
                <a:extLst>
                  <a:ext uri="{0D108BD9-81ED-4DB2-BD59-A6C34878D82A}">
                    <a16:rowId xmlns:a16="http://schemas.microsoft.com/office/drawing/2014/main" val="3280584348"/>
                  </a:ext>
                </a:extLst>
              </a:tr>
              <a:tr h="1068629">
                <a:tc vMerge="1">
                  <a:txBody>
                    <a:bodyPr/>
                    <a:lstStyle/>
                    <a:p>
                      <a:endParaRPr lang="zh-TW" altLang="en-US"/>
                    </a:p>
                  </a:txBody>
                  <a:tcPr/>
                </a:tc>
                <a:tc vMerge="1">
                  <a:txBody>
                    <a:bodyPr/>
                    <a:lstStyle/>
                    <a:p>
                      <a:endParaRPr lang="zh-TW" altLang="en-US"/>
                    </a:p>
                  </a:txBody>
                  <a:tcPr/>
                </a:tc>
                <a:tc>
                  <a:txBody>
                    <a:bodyPr/>
                    <a:lstStyle/>
                    <a:p>
                      <a:pPr algn="ctr">
                        <a:lnSpc>
                          <a:spcPct val="100000"/>
                        </a:lnSpc>
                        <a:tabLst>
                          <a:tab pos="3028950" algn="ctr"/>
                          <a:tab pos="6625590" algn="r"/>
                        </a:tabLst>
                      </a:pPr>
                      <a:r>
                        <a:rPr lang="zh-TW" sz="1600" kern="0">
                          <a:effectLst/>
                        </a:rPr>
                        <a:t>□低</a:t>
                      </a:r>
                      <a:endParaRPr lang="zh-TW" sz="1600" kern="10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a:txBody>
                    <a:bodyPr/>
                    <a:lstStyle/>
                    <a:p>
                      <a:pPr algn="l">
                        <a:lnSpc>
                          <a:spcPct val="100000"/>
                        </a:lnSpc>
                        <a:tabLst>
                          <a:tab pos="3028950" algn="ctr"/>
                          <a:tab pos="6625590" algn="r"/>
                        </a:tabLst>
                      </a:pPr>
                      <a:r>
                        <a:rPr lang="zh-TW" sz="1600" kern="0" dirty="0">
                          <a:effectLst/>
                        </a:rPr>
                        <a:t>委外項目未涉及其他法令法規或自律規範</a:t>
                      </a:r>
                      <a:endParaRPr lang="zh-TW" sz="16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8580" marR="68580" marT="0" marB="0" anchor="ctr"/>
                </a:tc>
                <a:tc vMerge="1">
                  <a:txBody>
                    <a:bodyPr/>
                    <a:lstStyle/>
                    <a:p>
                      <a:endParaRPr lang="zh-TW" altLang="en-US"/>
                    </a:p>
                  </a:txBody>
                  <a:tcPr/>
                </a:tc>
                <a:tc vMerge="1">
                  <a:txBody>
                    <a:bodyPr/>
                    <a:lstStyle/>
                    <a:p>
                      <a:endParaRPr lang="zh-TW" altLang="en-US"/>
                    </a:p>
                  </a:txBody>
                  <a:tcPr/>
                </a:tc>
                <a:tc vMerge="1">
                  <a:txBody>
                    <a:bodyPr/>
                    <a:lstStyle/>
                    <a:p>
                      <a:endParaRPr lang="zh-TW" altLang="en-US"/>
                    </a:p>
                  </a:txBody>
                  <a:tcPr/>
                </a:tc>
                <a:extLst>
                  <a:ext uri="{0D108BD9-81ED-4DB2-BD59-A6C34878D82A}">
                    <a16:rowId xmlns:a16="http://schemas.microsoft.com/office/drawing/2014/main" val="3671105116"/>
                  </a:ext>
                </a:extLst>
              </a:tr>
            </a:tbl>
          </a:graphicData>
        </a:graphic>
      </p:graphicFrame>
      <p:sp>
        <p:nvSpPr>
          <p:cNvPr id="11" name="矩形 10">
            <a:extLst>
              <a:ext uri="{FF2B5EF4-FFF2-40B4-BE49-F238E27FC236}">
                <a16:creationId xmlns:a16="http://schemas.microsoft.com/office/drawing/2014/main" id="{74E88D49-C86F-A7C2-5790-3DE9A571272C}"/>
              </a:ext>
            </a:extLst>
          </p:cNvPr>
          <p:cNvSpPr/>
          <p:nvPr/>
        </p:nvSpPr>
        <p:spPr bwMode="gray">
          <a:xfrm rot="20063387">
            <a:off x="10930269" y="5900454"/>
            <a:ext cx="914400" cy="404037"/>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b="1" dirty="0">
                <a:solidFill>
                  <a:srgbClr val="FF0000"/>
                </a:solidFill>
              </a:rPr>
              <a:t>範例</a:t>
            </a:r>
          </a:p>
        </p:txBody>
      </p:sp>
    </p:spTree>
    <p:extLst>
      <p:ext uri="{BB962C8B-B14F-4D97-AF65-F5344CB8AC3E}">
        <p14:creationId xmlns:p14="http://schemas.microsoft.com/office/powerpoint/2010/main" val="3923256778"/>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說明手冊</a:t>
            </a:r>
            <a:r>
              <a:rPr lang="en-US" altLang="zh-TW" b="1" dirty="0"/>
              <a:t>-</a:t>
            </a:r>
            <a:r>
              <a:rPr lang="zh-TW" altLang="en-US" b="1" dirty="0"/>
              <a:t>風險基礎方法之委外管理架構</a:t>
            </a:r>
            <a:r>
              <a:rPr lang="en-US" altLang="zh-TW" b="1" dirty="0"/>
              <a:t>(</a:t>
            </a:r>
            <a:r>
              <a:rPr lang="zh-TW" altLang="en-US" b="1" dirty="0"/>
              <a:t>附件四、廠商盡職調查表</a:t>
            </a:r>
            <a:r>
              <a:rPr lang="en-US" altLang="zh-TW" b="1" dirty="0"/>
              <a:t>)</a:t>
            </a:r>
            <a:endParaRPr lang="zh-TW" altLang="en-US" b="1" dirty="0"/>
          </a:p>
        </p:txBody>
      </p:sp>
      <p:sp>
        <p:nvSpPr>
          <p:cNvPr id="5" name="矩形: 圓角 4">
            <a:extLst>
              <a:ext uri="{FF2B5EF4-FFF2-40B4-BE49-F238E27FC236}">
                <a16:creationId xmlns:a16="http://schemas.microsoft.com/office/drawing/2014/main" id="{68E4FFD1-7859-BEA4-A2B4-D3657924EA61}"/>
              </a:ext>
            </a:extLst>
          </p:cNvPr>
          <p:cNvSpPr/>
          <p:nvPr/>
        </p:nvSpPr>
        <p:spPr bwMode="gray">
          <a:xfrm>
            <a:off x="469901" y="1022572"/>
            <a:ext cx="3413051" cy="542260"/>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風險基礎方法之委外管理架構</a:t>
            </a:r>
          </a:p>
        </p:txBody>
      </p:sp>
      <p:cxnSp>
        <p:nvCxnSpPr>
          <p:cNvPr id="7" name="直線接點 6">
            <a:extLst>
              <a:ext uri="{FF2B5EF4-FFF2-40B4-BE49-F238E27FC236}">
                <a16:creationId xmlns:a16="http://schemas.microsoft.com/office/drawing/2014/main" id="{DA0ECE32-AF59-AB6D-B90D-BB4C0342C4A0}"/>
              </a:ext>
            </a:extLst>
          </p:cNvPr>
          <p:cNvCxnSpPr>
            <a:cxnSpLocks/>
          </p:cNvCxnSpPr>
          <p:nvPr/>
        </p:nvCxnSpPr>
        <p:spPr>
          <a:xfrm>
            <a:off x="1233377" y="1579968"/>
            <a:ext cx="0" cy="61531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矩形: 圓角 9">
            <a:extLst>
              <a:ext uri="{FF2B5EF4-FFF2-40B4-BE49-F238E27FC236}">
                <a16:creationId xmlns:a16="http://schemas.microsoft.com/office/drawing/2014/main" id="{9384CC27-C57E-794A-B897-5E8FD8DED895}"/>
              </a:ext>
            </a:extLst>
          </p:cNvPr>
          <p:cNvSpPr/>
          <p:nvPr/>
        </p:nvSpPr>
        <p:spPr bwMode="gray">
          <a:xfrm>
            <a:off x="2407971" y="1899309"/>
            <a:ext cx="2546801" cy="591953"/>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廠商盡職調查表</a:t>
            </a:r>
            <a:r>
              <a:rPr lang="en-US" altLang="zh-TW" sz="1600" b="1" dirty="0">
                <a:solidFill>
                  <a:schemeClr val="bg1"/>
                </a:solidFill>
              </a:rPr>
              <a:t>(</a:t>
            </a:r>
            <a:r>
              <a:rPr lang="zh-TW" altLang="en-US" sz="1600" b="1" dirty="0">
                <a:solidFill>
                  <a:schemeClr val="bg1"/>
                </a:solidFill>
              </a:rPr>
              <a:t>附件四</a:t>
            </a:r>
            <a:r>
              <a:rPr lang="en-US" altLang="zh-TW" sz="1600" b="1" dirty="0">
                <a:solidFill>
                  <a:schemeClr val="bg1"/>
                </a:solidFill>
              </a:rPr>
              <a:t>)</a:t>
            </a:r>
            <a:endParaRPr lang="zh-TW" altLang="en-US" sz="1600" b="1" dirty="0">
              <a:solidFill>
                <a:schemeClr val="bg1"/>
              </a:solidFill>
            </a:endParaRPr>
          </a:p>
        </p:txBody>
      </p:sp>
      <p:cxnSp>
        <p:nvCxnSpPr>
          <p:cNvPr id="39" name="直線接點 38">
            <a:extLst>
              <a:ext uri="{FF2B5EF4-FFF2-40B4-BE49-F238E27FC236}">
                <a16:creationId xmlns:a16="http://schemas.microsoft.com/office/drawing/2014/main" id="{F03CAFF7-C0E1-4C51-362B-5C768D7439F0}"/>
              </a:ext>
            </a:extLst>
          </p:cNvPr>
          <p:cNvCxnSpPr>
            <a:cxnSpLocks/>
            <a:stCxn id="10" idx="3"/>
          </p:cNvCxnSpPr>
          <p:nvPr/>
        </p:nvCxnSpPr>
        <p:spPr>
          <a:xfrm>
            <a:off x="4954772" y="2195286"/>
            <a:ext cx="691116" cy="2936"/>
          </a:xfrm>
          <a:prstGeom prst="line">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矩形: 圓角 43">
            <a:extLst>
              <a:ext uri="{FF2B5EF4-FFF2-40B4-BE49-F238E27FC236}">
                <a16:creationId xmlns:a16="http://schemas.microsoft.com/office/drawing/2014/main" id="{B2A2BEBC-18BD-4E1A-49BC-D0B7C9E62254}"/>
              </a:ext>
            </a:extLst>
          </p:cNvPr>
          <p:cNvSpPr/>
          <p:nvPr/>
        </p:nvSpPr>
        <p:spPr bwMode="gray">
          <a:xfrm>
            <a:off x="5645888" y="1655958"/>
            <a:ext cx="5832261" cy="914400"/>
          </a:xfrm>
          <a:prstGeom prst="roundRect">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為判斷廠商是否有足夠能力及信用承接此案，建議可於進入採購流程前使用本表進行評估，並酌請廠商提供相關證明。</a:t>
            </a:r>
            <a:endParaRPr lang="en-US" altLang="zh-TW" sz="1600" b="1" dirty="0">
              <a:solidFill>
                <a:schemeClr val="bg1"/>
              </a:solidFill>
            </a:endParaRPr>
          </a:p>
          <a:p>
            <a:pPr algn="ctr">
              <a:lnSpc>
                <a:spcPct val="106000"/>
              </a:lnSpc>
              <a:buFont typeface="Wingdings 2" pitchFamily="18" charset="2"/>
              <a:buNone/>
            </a:pPr>
            <a:r>
              <a:rPr lang="zh-TW" altLang="en-US" sz="1600" b="1" dirty="0">
                <a:solidFill>
                  <a:schemeClr val="bg1"/>
                </a:solidFill>
              </a:rPr>
              <a:t>建議與業者原有之選商條件</a:t>
            </a:r>
            <a:r>
              <a:rPr lang="en-US" altLang="zh-TW" sz="1600" b="1" dirty="0">
                <a:solidFill>
                  <a:schemeClr val="bg1"/>
                </a:solidFill>
              </a:rPr>
              <a:t>(</a:t>
            </a:r>
            <a:r>
              <a:rPr lang="zh-TW" altLang="en-US" sz="1600" b="1" dirty="0">
                <a:solidFill>
                  <a:schemeClr val="bg1"/>
                </a:solidFill>
              </a:rPr>
              <a:t>表單</a:t>
            </a:r>
            <a:r>
              <a:rPr lang="en-US" altLang="zh-TW" sz="1600" b="1" dirty="0">
                <a:solidFill>
                  <a:schemeClr val="bg1"/>
                </a:solidFill>
              </a:rPr>
              <a:t>)</a:t>
            </a:r>
            <a:r>
              <a:rPr lang="zh-TW" altLang="en-US" sz="1600" b="1" dirty="0">
                <a:solidFill>
                  <a:schemeClr val="bg1"/>
                </a:solidFill>
              </a:rPr>
              <a:t>進行結合，避免重工。</a:t>
            </a:r>
          </a:p>
        </p:txBody>
      </p:sp>
      <p:cxnSp>
        <p:nvCxnSpPr>
          <p:cNvPr id="4" name="直線接點 3">
            <a:extLst>
              <a:ext uri="{FF2B5EF4-FFF2-40B4-BE49-F238E27FC236}">
                <a16:creationId xmlns:a16="http://schemas.microsoft.com/office/drawing/2014/main" id="{4C87F0F2-320B-E99B-5DB2-D18491522BBB}"/>
              </a:ext>
            </a:extLst>
          </p:cNvPr>
          <p:cNvCxnSpPr>
            <a:cxnSpLocks/>
            <a:stCxn id="10" idx="1"/>
          </p:cNvCxnSpPr>
          <p:nvPr/>
        </p:nvCxnSpPr>
        <p:spPr>
          <a:xfrm flipH="1">
            <a:off x="1233377" y="2195286"/>
            <a:ext cx="117459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3" name="表格 12">
            <a:extLst>
              <a:ext uri="{FF2B5EF4-FFF2-40B4-BE49-F238E27FC236}">
                <a16:creationId xmlns:a16="http://schemas.microsoft.com/office/drawing/2014/main" id="{30671752-FAB7-237C-3D27-11E83E7B04F1}"/>
              </a:ext>
            </a:extLst>
          </p:cNvPr>
          <p:cNvGraphicFramePr>
            <a:graphicFrameLocks noGrp="1"/>
          </p:cNvGraphicFramePr>
          <p:nvPr>
            <p:extLst>
              <p:ext uri="{D42A27DB-BD31-4B8C-83A1-F6EECF244321}">
                <p14:modId xmlns:p14="http://schemas.microsoft.com/office/powerpoint/2010/main" val="702602099"/>
              </p:ext>
            </p:extLst>
          </p:nvPr>
        </p:nvGraphicFramePr>
        <p:xfrm>
          <a:off x="469901" y="2635577"/>
          <a:ext cx="11252200" cy="3819836"/>
        </p:xfrm>
        <a:graphic>
          <a:graphicData uri="http://schemas.openxmlformats.org/drawingml/2006/table">
            <a:tbl>
              <a:tblPr firstRow="1" firstCol="1">
                <a:tableStyleId>{5C22544A-7EE6-4342-B048-85BDC9FD1C3A}</a:tableStyleId>
              </a:tblPr>
              <a:tblGrid>
                <a:gridCol w="578363">
                  <a:extLst>
                    <a:ext uri="{9D8B030D-6E8A-4147-A177-3AD203B41FA5}">
                      <a16:colId xmlns:a16="http://schemas.microsoft.com/office/drawing/2014/main" val="2955110873"/>
                    </a:ext>
                  </a:extLst>
                </a:gridCol>
                <a:gridCol w="544607">
                  <a:extLst>
                    <a:ext uri="{9D8B030D-6E8A-4147-A177-3AD203B41FA5}">
                      <a16:colId xmlns:a16="http://schemas.microsoft.com/office/drawing/2014/main" val="2900826954"/>
                    </a:ext>
                  </a:extLst>
                </a:gridCol>
                <a:gridCol w="6150453">
                  <a:extLst>
                    <a:ext uri="{9D8B030D-6E8A-4147-A177-3AD203B41FA5}">
                      <a16:colId xmlns:a16="http://schemas.microsoft.com/office/drawing/2014/main" val="1331028829"/>
                    </a:ext>
                  </a:extLst>
                </a:gridCol>
                <a:gridCol w="1627068">
                  <a:extLst>
                    <a:ext uri="{9D8B030D-6E8A-4147-A177-3AD203B41FA5}">
                      <a16:colId xmlns:a16="http://schemas.microsoft.com/office/drawing/2014/main" val="2724648227"/>
                    </a:ext>
                  </a:extLst>
                </a:gridCol>
                <a:gridCol w="2351709">
                  <a:extLst>
                    <a:ext uri="{9D8B030D-6E8A-4147-A177-3AD203B41FA5}">
                      <a16:colId xmlns:a16="http://schemas.microsoft.com/office/drawing/2014/main" val="449582928"/>
                    </a:ext>
                  </a:extLst>
                </a:gridCol>
              </a:tblGrid>
              <a:tr h="265837">
                <a:tc>
                  <a:txBody>
                    <a:bodyPr/>
                    <a:lstStyle/>
                    <a:p>
                      <a:pPr marR="93980" algn="ctr">
                        <a:lnSpc>
                          <a:spcPct val="100000"/>
                        </a:lnSpc>
                        <a:tabLst>
                          <a:tab pos="3028950" algn="ctr"/>
                          <a:tab pos="6625590" algn="r"/>
                        </a:tabLst>
                      </a:pPr>
                      <a:r>
                        <a:rPr lang="zh-TW" sz="1800" kern="100" spc="50" dirty="0">
                          <a:effectLst/>
                        </a:rPr>
                        <a:t>項次</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tc>
                  <a:txBody>
                    <a:bodyPr/>
                    <a:lstStyle/>
                    <a:p>
                      <a:pPr marR="93980" algn="ctr">
                        <a:lnSpc>
                          <a:spcPct val="100000"/>
                        </a:lnSpc>
                        <a:tabLst>
                          <a:tab pos="3028950" algn="ctr"/>
                          <a:tab pos="6625590" algn="r"/>
                        </a:tabLst>
                      </a:pPr>
                      <a:r>
                        <a:rPr lang="zh-TW" sz="1800" kern="100" spc="50">
                          <a:effectLst/>
                        </a:rPr>
                        <a:t>類別</a:t>
                      </a:r>
                      <a:endParaRPr lang="zh-TW" sz="1800" kern="10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tc>
                  <a:txBody>
                    <a:bodyPr/>
                    <a:lstStyle/>
                    <a:p>
                      <a:pPr marR="93980" algn="ctr">
                        <a:lnSpc>
                          <a:spcPct val="100000"/>
                        </a:lnSpc>
                        <a:tabLst>
                          <a:tab pos="3028950" algn="ctr"/>
                          <a:tab pos="6625590" algn="r"/>
                        </a:tabLst>
                      </a:pPr>
                      <a:r>
                        <a:rPr lang="zh-TW" sz="1800" kern="100" dirty="0">
                          <a:effectLst/>
                        </a:rPr>
                        <a:t>評估項目</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tc>
                  <a:txBody>
                    <a:bodyPr/>
                    <a:lstStyle/>
                    <a:p>
                      <a:pPr marR="16510" algn="ctr">
                        <a:lnSpc>
                          <a:spcPct val="100000"/>
                        </a:lnSpc>
                      </a:pPr>
                      <a:r>
                        <a:rPr lang="zh-TW" sz="1800" kern="100">
                          <a:effectLst/>
                        </a:rPr>
                        <a:t>評估結果</a:t>
                      </a:r>
                      <a:endParaRPr lang="zh-TW" sz="1800" kern="10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tc>
                  <a:txBody>
                    <a:bodyPr/>
                    <a:lstStyle/>
                    <a:p>
                      <a:pPr marR="93980" algn="ctr">
                        <a:lnSpc>
                          <a:spcPct val="100000"/>
                        </a:lnSpc>
                        <a:tabLst>
                          <a:tab pos="3028950" algn="ctr"/>
                          <a:tab pos="6625590" algn="r"/>
                        </a:tabLst>
                      </a:pPr>
                      <a:r>
                        <a:rPr lang="zh-TW" sz="1800" kern="100">
                          <a:effectLst/>
                        </a:rPr>
                        <a:t>佐證</a:t>
                      </a:r>
                      <a:r>
                        <a:rPr lang="en-US" sz="1800" kern="100">
                          <a:effectLst/>
                        </a:rPr>
                        <a:t>(</a:t>
                      </a:r>
                      <a:r>
                        <a:rPr lang="zh-TW" sz="1800" kern="100">
                          <a:effectLst/>
                        </a:rPr>
                        <a:t>或</a:t>
                      </a:r>
                      <a:r>
                        <a:rPr lang="en-US" sz="1800" kern="100">
                          <a:effectLst/>
                        </a:rPr>
                        <a:t>)</a:t>
                      </a:r>
                      <a:r>
                        <a:rPr lang="zh-TW" sz="1800" kern="100">
                          <a:effectLst/>
                        </a:rPr>
                        <a:t>說明</a:t>
                      </a:r>
                      <a:endParaRPr lang="zh-TW" sz="1800" kern="10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extLst>
                  <a:ext uri="{0D108BD9-81ED-4DB2-BD59-A6C34878D82A}">
                    <a16:rowId xmlns:a16="http://schemas.microsoft.com/office/drawing/2014/main" val="3026880161"/>
                  </a:ext>
                </a:extLst>
              </a:tr>
              <a:tr h="832450">
                <a:tc>
                  <a:txBody>
                    <a:bodyPr/>
                    <a:lstStyle/>
                    <a:p>
                      <a:pPr marL="0" lvl="0" indent="0" algn="ctr">
                        <a:lnSpc>
                          <a:spcPct val="100000"/>
                        </a:lnSpc>
                        <a:buFont typeface="+mj-lt"/>
                        <a:buNone/>
                        <a:tabLst>
                          <a:tab pos="3028950" algn="ctr"/>
                          <a:tab pos="6625590" algn="r"/>
                        </a:tabLst>
                      </a:pPr>
                      <a:r>
                        <a:rPr lang="en-US" sz="1800" kern="100" spc="50" dirty="0">
                          <a:effectLst/>
                        </a:rPr>
                        <a:t>1. </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tc rowSpan="3">
                  <a:txBody>
                    <a:bodyPr/>
                    <a:lstStyle/>
                    <a:p>
                      <a:pPr marR="93980" algn="ctr">
                        <a:lnSpc>
                          <a:spcPct val="100000"/>
                        </a:lnSpc>
                        <a:tabLst>
                          <a:tab pos="3028950" algn="ctr"/>
                          <a:tab pos="6625590" algn="r"/>
                        </a:tabLst>
                      </a:pPr>
                      <a:r>
                        <a:rPr lang="zh-TW" sz="1800" kern="100" spc="50" dirty="0">
                          <a:effectLst/>
                        </a:rPr>
                        <a:t>公司基本資料</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tc>
                  <a:txBody>
                    <a:bodyPr/>
                    <a:lstStyle/>
                    <a:p>
                      <a:pPr marR="93980" algn="ctr">
                        <a:lnSpc>
                          <a:spcPct val="100000"/>
                        </a:lnSpc>
                        <a:tabLst>
                          <a:tab pos="3028950" algn="ctr"/>
                          <a:tab pos="6625590" algn="r"/>
                        </a:tabLst>
                      </a:pPr>
                      <a:r>
                        <a:rPr lang="zh-TW" sz="1800" kern="100" dirty="0">
                          <a:effectLst/>
                        </a:rPr>
                        <a:t>營業項目資料是否符合委外作業事項</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tc>
                  <a:txBody>
                    <a:bodyPr/>
                    <a:lstStyle/>
                    <a:p>
                      <a:pPr marR="16510" algn="ctr">
                        <a:lnSpc>
                          <a:spcPct val="100000"/>
                        </a:lnSpc>
                      </a:pPr>
                      <a:r>
                        <a:rPr lang="zh-TW" sz="1800" kern="100" dirty="0">
                          <a:effectLst/>
                        </a:rPr>
                        <a:t>■是</a:t>
                      </a:r>
                    </a:p>
                    <a:p>
                      <a:pPr marR="16510" algn="ctr">
                        <a:lnSpc>
                          <a:spcPct val="100000"/>
                        </a:lnSpc>
                      </a:pPr>
                      <a:r>
                        <a:rPr lang="zh-TW" sz="1800" kern="100" dirty="0">
                          <a:effectLst/>
                        </a:rPr>
                        <a:t>□否</a:t>
                      </a:r>
                    </a:p>
                  </a:txBody>
                  <a:tcPr marL="64698" marR="64698" marT="0" marB="0" anchor="ctr"/>
                </a:tc>
                <a:tc>
                  <a:txBody>
                    <a:bodyPr/>
                    <a:lstStyle/>
                    <a:p>
                      <a:pPr marR="93980" algn="ctr">
                        <a:lnSpc>
                          <a:spcPct val="100000"/>
                        </a:lnSpc>
                        <a:tabLst>
                          <a:tab pos="3028950" algn="ctr"/>
                          <a:tab pos="6625590" algn="r"/>
                        </a:tabLst>
                      </a:pPr>
                      <a:r>
                        <a:rPr lang="zh-TW" sz="1800" kern="100" dirty="0">
                          <a:effectLst/>
                        </a:rPr>
                        <a:t>該廠商營業項目包含本次欲委託其作業項目</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extLst>
                  <a:ext uri="{0D108BD9-81ED-4DB2-BD59-A6C34878D82A}">
                    <a16:rowId xmlns:a16="http://schemas.microsoft.com/office/drawing/2014/main" val="2682308267"/>
                  </a:ext>
                </a:extLst>
              </a:tr>
              <a:tr h="1115757">
                <a:tc>
                  <a:txBody>
                    <a:bodyPr/>
                    <a:lstStyle/>
                    <a:p>
                      <a:pPr marL="0" marR="93980" lvl="0" indent="0" algn="ctr">
                        <a:lnSpc>
                          <a:spcPct val="100000"/>
                        </a:lnSpc>
                        <a:spcAft>
                          <a:spcPts val="0"/>
                        </a:spcAft>
                        <a:buFont typeface="+mj-lt"/>
                        <a:buNone/>
                        <a:tabLst>
                          <a:tab pos="3028950" algn="ctr"/>
                          <a:tab pos="6625590" algn="r"/>
                        </a:tabLst>
                      </a:pPr>
                      <a:r>
                        <a:rPr lang="en-US" sz="1800" kern="100" spc="50" dirty="0">
                          <a:effectLst/>
                        </a:rPr>
                        <a:t>2. </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tc vMerge="1">
                  <a:txBody>
                    <a:bodyPr/>
                    <a:lstStyle/>
                    <a:p>
                      <a:endParaRPr lang="zh-TW" altLang="en-US"/>
                    </a:p>
                  </a:txBody>
                  <a:tcPr/>
                </a:tc>
                <a:tc>
                  <a:txBody>
                    <a:bodyPr/>
                    <a:lstStyle/>
                    <a:p>
                      <a:pPr marR="93980" algn="ctr">
                        <a:lnSpc>
                          <a:spcPct val="100000"/>
                        </a:lnSpc>
                        <a:tabLst>
                          <a:tab pos="3028950" algn="ctr"/>
                          <a:tab pos="6625590" algn="r"/>
                        </a:tabLst>
                      </a:pPr>
                      <a:r>
                        <a:rPr lang="zh-TW" sz="1800" kern="100" dirty="0">
                          <a:effectLst/>
                        </a:rPr>
                        <a:t>是否填妥供應商登錄申請表</a:t>
                      </a:r>
                      <a:r>
                        <a:rPr lang="en-US" sz="1800" kern="100" dirty="0">
                          <a:effectLst/>
                        </a:rPr>
                        <a:t>(</a:t>
                      </a:r>
                      <a:r>
                        <a:rPr lang="zh-TW" sz="1800" kern="100" dirty="0">
                          <a:effectLst/>
                        </a:rPr>
                        <a:t>僅首次適用</a:t>
                      </a:r>
                      <a:r>
                        <a:rPr lang="en-US" sz="1800" kern="100" dirty="0">
                          <a:effectLst/>
                        </a:rPr>
                        <a:t>)</a:t>
                      </a:r>
                      <a:endParaRPr lang="zh-TW" sz="1800" kern="100" dirty="0">
                        <a:effectLst/>
                      </a:endParaRPr>
                    </a:p>
                    <a:p>
                      <a:pPr marR="93980" algn="ctr">
                        <a:lnSpc>
                          <a:spcPct val="100000"/>
                        </a:lnSpc>
                        <a:tabLst>
                          <a:tab pos="3028950" algn="ctr"/>
                          <a:tab pos="6625590" algn="r"/>
                        </a:tabLst>
                      </a:pPr>
                      <a:r>
                        <a:rPr lang="en-US" sz="1800" kern="100" dirty="0">
                          <a:effectLst/>
                        </a:rPr>
                        <a:t>*</a:t>
                      </a:r>
                      <a:r>
                        <a:rPr lang="zh-TW" sz="1800" kern="100" dirty="0">
                          <a:effectLst/>
                        </a:rPr>
                        <a:t>請檢附公司合法商業登記或相當之證明文件</a:t>
                      </a:r>
                      <a:r>
                        <a:rPr lang="en-US" sz="1800" kern="100" dirty="0">
                          <a:effectLst/>
                        </a:rPr>
                        <a:t>(</a:t>
                      </a:r>
                      <a:r>
                        <a:rPr lang="zh-TW" sz="1800" kern="100" dirty="0">
                          <a:effectLst/>
                        </a:rPr>
                        <a:t>查詢 經濟部 商工登記公是資料查詢服務</a:t>
                      </a:r>
                      <a:r>
                        <a:rPr lang="en-US" sz="1800" kern="100" dirty="0">
                          <a:effectLst/>
                        </a:rPr>
                        <a:t>)</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tc>
                  <a:txBody>
                    <a:bodyPr/>
                    <a:lstStyle/>
                    <a:p>
                      <a:pPr marR="16510" algn="ctr">
                        <a:lnSpc>
                          <a:spcPct val="100000"/>
                        </a:lnSpc>
                      </a:pPr>
                      <a:r>
                        <a:rPr lang="zh-TW" sz="1800" kern="100" dirty="0">
                          <a:effectLst/>
                        </a:rPr>
                        <a:t>■是</a:t>
                      </a:r>
                    </a:p>
                    <a:p>
                      <a:pPr marR="16510" algn="ctr">
                        <a:lnSpc>
                          <a:spcPct val="100000"/>
                        </a:lnSpc>
                      </a:pPr>
                      <a:r>
                        <a:rPr lang="zh-TW" sz="1800" kern="100" dirty="0">
                          <a:effectLst/>
                        </a:rPr>
                        <a:t>□否</a:t>
                      </a:r>
                    </a:p>
                    <a:p>
                      <a:pPr marR="16510" algn="ctr">
                        <a:lnSpc>
                          <a:spcPct val="100000"/>
                        </a:lnSpc>
                      </a:pPr>
                      <a:r>
                        <a:rPr lang="zh-TW" sz="1800" kern="100" dirty="0">
                          <a:effectLst/>
                        </a:rPr>
                        <a:t>□不適用</a:t>
                      </a:r>
                    </a:p>
                  </a:txBody>
                  <a:tcPr marL="64698" marR="64698" marT="0" marB="0" anchor="ctr"/>
                </a:tc>
                <a:tc>
                  <a:txBody>
                    <a:bodyPr/>
                    <a:lstStyle/>
                    <a:p>
                      <a:pPr marR="93980" algn="ctr">
                        <a:lnSpc>
                          <a:spcPct val="100000"/>
                        </a:lnSpc>
                        <a:tabLst>
                          <a:tab pos="3028950" algn="ctr"/>
                          <a:tab pos="6625590" algn="r"/>
                        </a:tabLst>
                      </a:pPr>
                      <a:r>
                        <a:rPr lang="zh-TW" sz="1800" kern="100">
                          <a:effectLst/>
                        </a:rPr>
                        <a:t>本題供應商登錄申請表乃廠商初次合作之登記表</a:t>
                      </a:r>
                      <a:endParaRPr lang="zh-TW" sz="1800" kern="10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extLst>
                  <a:ext uri="{0D108BD9-81ED-4DB2-BD59-A6C34878D82A}">
                    <a16:rowId xmlns:a16="http://schemas.microsoft.com/office/drawing/2014/main" val="463670339"/>
                  </a:ext>
                </a:extLst>
              </a:tr>
              <a:tr h="1322989">
                <a:tc>
                  <a:txBody>
                    <a:bodyPr/>
                    <a:lstStyle/>
                    <a:p>
                      <a:pPr marL="0" marR="93980" lvl="0" indent="0" algn="ctr">
                        <a:lnSpc>
                          <a:spcPct val="100000"/>
                        </a:lnSpc>
                        <a:spcAft>
                          <a:spcPts val="0"/>
                        </a:spcAft>
                        <a:buFont typeface="+mj-lt"/>
                        <a:buNone/>
                        <a:tabLst>
                          <a:tab pos="3028950" algn="ctr"/>
                          <a:tab pos="6625590" algn="r"/>
                        </a:tabLst>
                      </a:pPr>
                      <a:r>
                        <a:rPr lang="en-US" sz="1800" kern="100" spc="50" dirty="0">
                          <a:effectLst/>
                        </a:rPr>
                        <a:t>3. </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tc vMerge="1">
                  <a:txBody>
                    <a:bodyPr/>
                    <a:lstStyle/>
                    <a:p>
                      <a:endParaRPr lang="zh-TW" altLang="en-US"/>
                    </a:p>
                  </a:txBody>
                  <a:tcPr/>
                </a:tc>
                <a:tc>
                  <a:txBody>
                    <a:bodyPr/>
                    <a:lstStyle/>
                    <a:p>
                      <a:pPr marR="93980" algn="ctr">
                        <a:lnSpc>
                          <a:spcPct val="100000"/>
                        </a:lnSpc>
                        <a:tabLst>
                          <a:tab pos="3028950" algn="ctr"/>
                          <a:tab pos="6625590" algn="r"/>
                        </a:tabLst>
                      </a:pPr>
                      <a:r>
                        <a:rPr lang="zh-TW" sz="1800" kern="100" dirty="0">
                          <a:effectLst/>
                        </a:rPr>
                        <a:t>是否為本公司利害關係人</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64698" marR="64698" marT="0" marB="0" anchor="ctr"/>
                </a:tc>
                <a:tc>
                  <a:txBody>
                    <a:bodyPr/>
                    <a:lstStyle/>
                    <a:p>
                      <a:pPr marR="16510" algn="ctr">
                        <a:lnSpc>
                          <a:spcPct val="100000"/>
                        </a:lnSpc>
                      </a:pPr>
                      <a:r>
                        <a:rPr lang="zh-TW" sz="1800" kern="100" dirty="0">
                          <a:effectLst/>
                        </a:rPr>
                        <a:t>□是</a:t>
                      </a:r>
                    </a:p>
                    <a:p>
                      <a:pPr marR="16510" algn="ctr">
                        <a:lnSpc>
                          <a:spcPct val="100000"/>
                        </a:lnSpc>
                      </a:pPr>
                      <a:r>
                        <a:rPr lang="zh-TW" sz="1800" kern="100" dirty="0">
                          <a:effectLst/>
                        </a:rPr>
                        <a:t>■否</a:t>
                      </a:r>
                    </a:p>
                  </a:txBody>
                  <a:tcPr marL="64698" marR="64698" marT="0" marB="0" anchor="ctr"/>
                </a:tc>
                <a:tc>
                  <a:txBody>
                    <a:bodyPr/>
                    <a:lstStyle/>
                    <a:p>
                      <a:pPr marR="93980" algn="ctr">
                        <a:lnSpc>
                          <a:spcPct val="100000"/>
                        </a:lnSpc>
                        <a:tabLst>
                          <a:tab pos="3028950" algn="ctr"/>
                          <a:tab pos="6625590" algn="r"/>
                        </a:tabLst>
                      </a:pPr>
                      <a:r>
                        <a:rPr lang="zh-TW" sz="1800" kern="100" dirty="0">
                          <a:effectLst/>
                        </a:rPr>
                        <a:t>經調查該廠商並非本公司利害關係人</a:t>
                      </a:r>
                    </a:p>
                  </a:txBody>
                  <a:tcPr marL="64698" marR="64698" marT="0" marB="0" anchor="ctr"/>
                </a:tc>
                <a:extLst>
                  <a:ext uri="{0D108BD9-81ED-4DB2-BD59-A6C34878D82A}">
                    <a16:rowId xmlns:a16="http://schemas.microsoft.com/office/drawing/2014/main" val="2164703389"/>
                  </a:ext>
                </a:extLst>
              </a:tr>
            </a:tbl>
          </a:graphicData>
        </a:graphic>
      </p:graphicFrame>
      <p:sp>
        <p:nvSpPr>
          <p:cNvPr id="15" name="矩形 14">
            <a:extLst>
              <a:ext uri="{FF2B5EF4-FFF2-40B4-BE49-F238E27FC236}">
                <a16:creationId xmlns:a16="http://schemas.microsoft.com/office/drawing/2014/main" id="{EB7F0EFA-7E9B-380C-BF9D-D7C788880E96}"/>
              </a:ext>
            </a:extLst>
          </p:cNvPr>
          <p:cNvSpPr/>
          <p:nvPr/>
        </p:nvSpPr>
        <p:spPr bwMode="gray">
          <a:xfrm rot="20063387">
            <a:off x="10930269" y="5900454"/>
            <a:ext cx="914400" cy="404037"/>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b="1" dirty="0">
                <a:solidFill>
                  <a:srgbClr val="FF0000"/>
                </a:solidFill>
              </a:rPr>
              <a:t>範例</a:t>
            </a:r>
          </a:p>
        </p:txBody>
      </p:sp>
    </p:spTree>
    <p:extLst>
      <p:ext uri="{BB962C8B-B14F-4D97-AF65-F5344CB8AC3E}">
        <p14:creationId xmlns:p14="http://schemas.microsoft.com/office/powerpoint/2010/main" val="1827220406"/>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說明手冊</a:t>
            </a:r>
            <a:r>
              <a:rPr lang="en-US" altLang="zh-TW" b="1" dirty="0"/>
              <a:t>-</a:t>
            </a:r>
            <a:r>
              <a:rPr lang="zh-TW" altLang="en-US" b="1" dirty="0"/>
              <a:t>委外契約檢核表</a:t>
            </a:r>
            <a:r>
              <a:rPr lang="en-US" altLang="zh-TW" b="1" dirty="0"/>
              <a:t>(</a:t>
            </a:r>
            <a:r>
              <a:rPr lang="zh-TW" altLang="en-US" b="1" dirty="0"/>
              <a:t>附件五</a:t>
            </a:r>
            <a:r>
              <a:rPr lang="en-US" altLang="zh-TW" b="1" dirty="0"/>
              <a:t>)</a:t>
            </a:r>
            <a:endParaRPr lang="zh-TW" altLang="en-US" b="1" dirty="0"/>
          </a:p>
        </p:txBody>
      </p:sp>
      <p:sp>
        <p:nvSpPr>
          <p:cNvPr id="10" name="矩形: 圓角 9">
            <a:extLst>
              <a:ext uri="{FF2B5EF4-FFF2-40B4-BE49-F238E27FC236}">
                <a16:creationId xmlns:a16="http://schemas.microsoft.com/office/drawing/2014/main" id="{9384CC27-C57E-794A-B897-5E8FD8DED895}"/>
              </a:ext>
            </a:extLst>
          </p:cNvPr>
          <p:cNvSpPr/>
          <p:nvPr/>
        </p:nvSpPr>
        <p:spPr bwMode="gray">
          <a:xfrm>
            <a:off x="840201" y="1186928"/>
            <a:ext cx="2546801" cy="591953"/>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委外契約檢核表</a:t>
            </a:r>
            <a:r>
              <a:rPr lang="en-US" altLang="zh-TW" sz="1600" b="1" dirty="0">
                <a:solidFill>
                  <a:schemeClr val="bg1"/>
                </a:solidFill>
              </a:rPr>
              <a:t>(</a:t>
            </a:r>
            <a:r>
              <a:rPr lang="zh-TW" altLang="en-US" sz="1600" b="1" dirty="0">
                <a:solidFill>
                  <a:schemeClr val="bg1"/>
                </a:solidFill>
              </a:rPr>
              <a:t>附件五</a:t>
            </a:r>
            <a:r>
              <a:rPr lang="en-US" altLang="zh-TW" sz="1600" b="1" dirty="0">
                <a:solidFill>
                  <a:schemeClr val="bg1"/>
                </a:solidFill>
              </a:rPr>
              <a:t>)</a:t>
            </a:r>
            <a:endParaRPr lang="zh-TW" altLang="en-US" sz="1600" b="1" dirty="0">
              <a:solidFill>
                <a:schemeClr val="bg1"/>
              </a:solidFill>
            </a:endParaRPr>
          </a:p>
        </p:txBody>
      </p:sp>
      <p:cxnSp>
        <p:nvCxnSpPr>
          <p:cNvPr id="39" name="直線接點 38">
            <a:extLst>
              <a:ext uri="{FF2B5EF4-FFF2-40B4-BE49-F238E27FC236}">
                <a16:creationId xmlns:a16="http://schemas.microsoft.com/office/drawing/2014/main" id="{F03CAFF7-C0E1-4C51-362B-5C768D7439F0}"/>
              </a:ext>
            </a:extLst>
          </p:cNvPr>
          <p:cNvCxnSpPr>
            <a:cxnSpLocks/>
            <a:stCxn id="10" idx="3"/>
          </p:cNvCxnSpPr>
          <p:nvPr/>
        </p:nvCxnSpPr>
        <p:spPr>
          <a:xfrm>
            <a:off x="3387002" y="1482905"/>
            <a:ext cx="691116" cy="2936"/>
          </a:xfrm>
          <a:prstGeom prst="line">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矩形: 圓角 43">
            <a:extLst>
              <a:ext uri="{FF2B5EF4-FFF2-40B4-BE49-F238E27FC236}">
                <a16:creationId xmlns:a16="http://schemas.microsoft.com/office/drawing/2014/main" id="{B2A2BEBC-18BD-4E1A-49BC-D0B7C9E62254}"/>
              </a:ext>
            </a:extLst>
          </p:cNvPr>
          <p:cNvSpPr/>
          <p:nvPr/>
        </p:nvSpPr>
        <p:spPr bwMode="gray">
          <a:xfrm>
            <a:off x="4078118" y="943577"/>
            <a:ext cx="5832261" cy="914400"/>
          </a:xfrm>
          <a:prstGeom prst="roundRect">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為檢查案件之合約是否已符合應注意事項第十條之規範要求，簽約前可用此表檢視合約是否合規。</a:t>
            </a:r>
          </a:p>
        </p:txBody>
      </p:sp>
      <p:graphicFrame>
        <p:nvGraphicFramePr>
          <p:cNvPr id="3" name="表格 2">
            <a:extLst>
              <a:ext uri="{FF2B5EF4-FFF2-40B4-BE49-F238E27FC236}">
                <a16:creationId xmlns:a16="http://schemas.microsoft.com/office/drawing/2014/main" id="{DFF85CA8-7B10-060C-FD47-FDD142610357}"/>
              </a:ext>
            </a:extLst>
          </p:cNvPr>
          <p:cNvGraphicFramePr>
            <a:graphicFrameLocks noGrp="1"/>
          </p:cNvGraphicFramePr>
          <p:nvPr>
            <p:extLst>
              <p:ext uri="{D42A27DB-BD31-4B8C-83A1-F6EECF244321}">
                <p14:modId xmlns:p14="http://schemas.microsoft.com/office/powerpoint/2010/main" val="3876661193"/>
              </p:ext>
            </p:extLst>
          </p:nvPr>
        </p:nvGraphicFramePr>
        <p:xfrm>
          <a:off x="840201" y="2183919"/>
          <a:ext cx="10717388" cy="3730502"/>
        </p:xfrm>
        <a:graphic>
          <a:graphicData uri="http://schemas.openxmlformats.org/drawingml/2006/table">
            <a:tbl>
              <a:tblPr firstRow="1" firstCol="1" bandRow="1">
                <a:tableStyleId>{5C22544A-7EE6-4342-B048-85BDC9FD1C3A}</a:tableStyleId>
              </a:tblPr>
              <a:tblGrid>
                <a:gridCol w="2211343">
                  <a:extLst>
                    <a:ext uri="{9D8B030D-6E8A-4147-A177-3AD203B41FA5}">
                      <a16:colId xmlns:a16="http://schemas.microsoft.com/office/drawing/2014/main" val="609510490"/>
                    </a:ext>
                  </a:extLst>
                </a:gridCol>
                <a:gridCol w="3530231">
                  <a:extLst>
                    <a:ext uri="{9D8B030D-6E8A-4147-A177-3AD203B41FA5}">
                      <a16:colId xmlns:a16="http://schemas.microsoft.com/office/drawing/2014/main" val="604526812"/>
                    </a:ext>
                  </a:extLst>
                </a:gridCol>
                <a:gridCol w="842443">
                  <a:extLst>
                    <a:ext uri="{9D8B030D-6E8A-4147-A177-3AD203B41FA5}">
                      <a16:colId xmlns:a16="http://schemas.microsoft.com/office/drawing/2014/main" val="2244618839"/>
                    </a:ext>
                  </a:extLst>
                </a:gridCol>
                <a:gridCol w="4133371">
                  <a:extLst>
                    <a:ext uri="{9D8B030D-6E8A-4147-A177-3AD203B41FA5}">
                      <a16:colId xmlns:a16="http://schemas.microsoft.com/office/drawing/2014/main" val="4035009891"/>
                    </a:ext>
                  </a:extLst>
                </a:gridCol>
              </a:tblGrid>
              <a:tr h="613068">
                <a:tc>
                  <a:txBody>
                    <a:bodyPr/>
                    <a:lstStyle/>
                    <a:p>
                      <a:pPr algn="ctr"/>
                      <a:r>
                        <a:rPr lang="zh-TW" sz="1600" kern="0" dirty="0">
                          <a:effectLst/>
                        </a:rPr>
                        <a:t>證券商作業委外契約應載明事項</a:t>
                      </a:r>
                      <a:endParaRPr lang="zh-TW" sz="16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ctr"/>
                      <a:r>
                        <a:rPr lang="zh-TW" sz="1600" kern="0" dirty="0">
                          <a:effectLst/>
                        </a:rPr>
                        <a:t>檢核內容</a:t>
                      </a:r>
                      <a:endParaRPr lang="zh-TW" sz="16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ctr"/>
                      <a:r>
                        <a:rPr lang="zh-TW" sz="1600" kern="0" dirty="0">
                          <a:effectLst/>
                        </a:rPr>
                        <a:t>必要</a:t>
                      </a:r>
                      <a:endParaRPr lang="zh-TW" sz="16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ctr"/>
                      <a:r>
                        <a:rPr lang="zh-TW" sz="1600" kern="0" dirty="0">
                          <a:effectLst/>
                        </a:rPr>
                        <a:t>說明</a:t>
                      </a:r>
                      <a:endParaRPr lang="zh-TW" sz="16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extLst>
                  <a:ext uri="{0D108BD9-81ED-4DB2-BD59-A6C34878D82A}">
                    <a16:rowId xmlns:a16="http://schemas.microsoft.com/office/drawing/2014/main" val="2020870732"/>
                  </a:ext>
                </a:extLst>
              </a:tr>
              <a:tr h="311743">
                <a:tc>
                  <a:txBody>
                    <a:bodyPr/>
                    <a:lstStyle/>
                    <a:p>
                      <a:pPr algn="ctr"/>
                      <a:r>
                        <a:rPr lang="zh-TW" sz="1800" kern="0" dirty="0">
                          <a:effectLst/>
                        </a:rPr>
                        <a:t>　</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l"/>
                      <a:r>
                        <a:rPr lang="zh-TW" sz="1800" kern="0" dirty="0">
                          <a:effectLst/>
                        </a:rPr>
                        <a:t>受託單位</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l"/>
                      <a:r>
                        <a:rPr lang="zh-TW" sz="1800" kern="0">
                          <a:effectLst/>
                        </a:rPr>
                        <a:t>必要</a:t>
                      </a:r>
                      <a:endParaRPr lang="zh-TW" sz="1800" kern="10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l"/>
                      <a:r>
                        <a:rPr lang="zh-TW" sz="1800" kern="100" dirty="0">
                          <a:effectLst/>
                        </a:rPr>
                        <a:t>○○</a:t>
                      </a:r>
                      <a:r>
                        <a:rPr lang="zh-TW" sz="1800" kern="0" dirty="0">
                          <a:effectLst/>
                        </a:rPr>
                        <a:t>電腦公司</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extLst>
                  <a:ext uri="{0D108BD9-81ED-4DB2-BD59-A6C34878D82A}">
                    <a16:rowId xmlns:a16="http://schemas.microsoft.com/office/drawing/2014/main" val="3353215084"/>
                  </a:ext>
                </a:extLst>
              </a:tr>
              <a:tr h="311743">
                <a:tc>
                  <a:txBody>
                    <a:bodyPr/>
                    <a:lstStyle/>
                    <a:p>
                      <a:pPr algn="ctr"/>
                      <a:r>
                        <a:rPr lang="zh-TW" sz="1800" kern="0" dirty="0">
                          <a:effectLst/>
                        </a:rPr>
                        <a:t>　</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l"/>
                      <a:r>
                        <a:rPr lang="zh-TW" sz="1800" kern="0" dirty="0">
                          <a:effectLst/>
                        </a:rPr>
                        <a:t>委託期間</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l"/>
                      <a:r>
                        <a:rPr lang="zh-TW" sz="1800" kern="0">
                          <a:effectLst/>
                        </a:rPr>
                        <a:t>必要</a:t>
                      </a:r>
                      <a:endParaRPr lang="zh-TW" sz="1800" kern="10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l"/>
                      <a:r>
                        <a:rPr lang="en-US" sz="1800" kern="0" dirty="0">
                          <a:effectLst/>
                        </a:rPr>
                        <a:t>2024/01/01-2024/12/31</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extLst>
                  <a:ext uri="{0D108BD9-81ED-4DB2-BD59-A6C34878D82A}">
                    <a16:rowId xmlns:a16="http://schemas.microsoft.com/office/drawing/2014/main" val="212581016"/>
                  </a:ext>
                </a:extLst>
              </a:tr>
              <a:tr h="623487">
                <a:tc>
                  <a:txBody>
                    <a:bodyPr/>
                    <a:lstStyle/>
                    <a:p>
                      <a:pPr algn="ctr"/>
                      <a:r>
                        <a:rPr lang="en-US" sz="1800" kern="0">
                          <a:effectLst/>
                        </a:rPr>
                        <a:t>(</a:t>
                      </a:r>
                      <a:r>
                        <a:rPr lang="zh-TW" sz="1800" kern="0">
                          <a:effectLst/>
                        </a:rPr>
                        <a:t>一</a:t>
                      </a:r>
                      <a:r>
                        <a:rPr lang="en-US" sz="1800" kern="0">
                          <a:effectLst/>
                        </a:rPr>
                        <a:t>)</a:t>
                      </a:r>
                      <a:endParaRPr lang="zh-TW" sz="1800" kern="10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l"/>
                      <a:r>
                        <a:rPr lang="zh-TW" sz="1800" kern="0" dirty="0">
                          <a:effectLst/>
                        </a:rPr>
                        <a:t>作業委外事項範圍及受委託機構之權責</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l"/>
                      <a:r>
                        <a:rPr lang="zh-TW" sz="1800" kern="0">
                          <a:effectLst/>
                        </a:rPr>
                        <a:t>必要</a:t>
                      </a:r>
                      <a:endParaRPr lang="zh-TW" sz="1800" kern="10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l"/>
                      <a:r>
                        <a:rPr lang="zh-TW" sz="1800" kern="0" dirty="0">
                          <a:effectLst/>
                        </a:rPr>
                        <a:t>於本合約第三條中訂定相關條款如下</a:t>
                      </a:r>
                      <a:r>
                        <a:rPr lang="en-US" sz="1800" kern="0" dirty="0">
                          <a:effectLst/>
                        </a:rPr>
                        <a:t>:</a:t>
                      </a:r>
                      <a:r>
                        <a:rPr lang="en-US" sz="1800" kern="0" dirty="0" err="1">
                          <a:effectLst/>
                        </a:rPr>
                        <a:t>xxxxxxx</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extLst>
                  <a:ext uri="{0D108BD9-81ED-4DB2-BD59-A6C34878D82A}">
                    <a16:rowId xmlns:a16="http://schemas.microsoft.com/office/drawing/2014/main" val="976425769"/>
                  </a:ext>
                </a:extLst>
              </a:tr>
              <a:tr h="1870461">
                <a:tc>
                  <a:txBody>
                    <a:bodyPr/>
                    <a:lstStyle/>
                    <a:p>
                      <a:pPr algn="ctr"/>
                      <a:r>
                        <a:rPr lang="en-US" sz="1800" kern="0">
                          <a:effectLst/>
                        </a:rPr>
                        <a:t>(</a:t>
                      </a:r>
                      <a:r>
                        <a:rPr lang="zh-TW" sz="1800" kern="0">
                          <a:effectLst/>
                        </a:rPr>
                        <a:t>二</a:t>
                      </a:r>
                      <a:r>
                        <a:rPr lang="en-US" sz="1800" kern="0">
                          <a:effectLst/>
                        </a:rPr>
                        <a:t>)</a:t>
                      </a:r>
                      <a:endParaRPr lang="zh-TW" sz="1800" kern="10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l"/>
                      <a:r>
                        <a:rPr lang="zh-TW" sz="1800" kern="0" dirty="0">
                          <a:effectLst/>
                        </a:rPr>
                        <a:t>應要求受委託機構配合不得違反法令強制或禁止規定、公共秩序及善良風俗，並應遵循保險法、洗錢防制法、個人資料保護法、消費者保護法、金融消費者保護法及其他法令之規定</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l"/>
                      <a:r>
                        <a:rPr lang="zh-TW" sz="1800" kern="0" dirty="0">
                          <a:effectLst/>
                        </a:rPr>
                        <a:t>必要</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tc>
                  <a:txBody>
                    <a:bodyPr/>
                    <a:lstStyle/>
                    <a:p>
                      <a:pPr algn="l"/>
                      <a:r>
                        <a:rPr lang="zh-TW" sz="1800" kern="0" dirty="0">
                          <a:effectLst/>
                        </a:rPr>
                        <a:t>於本合約第七條中訂定相關條款如下</a:t>
                      </a:r>
                      <a:r>
                        <a:rPr lang="en-US" sz="1800" kern="0" dirty="0">
                          <a:effectLst/>
                        </a:rPr>
                        <a:t>:</a:t>
                      </a:r>
                      <a:r>
                        <a:rPr lang="en-US" sz="1800" kern="0" dirty="0" err="1">
                          <a:effectLst/>
                        </a:rPr>
                        <a:t>xxxxxxx</a:t>
                      </a:r>
                      <a:endParaRPr lang="zh-TW" sz="1800" kern="100" dirty="0">
                        <a:effectLst/>
                        <a:latin typeface="Calibri" panose="020F0502020204030204" pitchFamily="34" charset="0"/>
                        <a:ea typeface="新細明體" panose="02020500000000000000" pitchFamily="18" charset="-120"/>
                        <a:cs typeface="Cordia New" panose="020B0304020202020204" pitchFamily="34" charset="-34"/>
                      </a:endParaRPr>
                    </a:p>
                  </a:txBody>
                  <a:tcPr marL="17780" marR="17780" marT="0" marB="0" anchor="ctr"/>
                </a:tc>
                <a:extLst>
                  <a:ext uri="{0D108BD9-81ED-4DB2-BD59-A6C34878D82A}">
                    <a16:rowId xmlns:a16="http://schemas.microsoft.com/office/drawing/2014/main" val="3074028406"/>
                  </a:ext>
                </a:extLst>
              </a:tr>
            </a:tbl>
          </a:graphicData>
        </a:graphic>
      </p:graphicFrame>
      <p:sp>
        <p:nvSpPr>
          <p:cNvPr id="15" name="矩形 14">
            <a:extLst>
              <a:ext uri="{FF2B5EF4-FFF2-40B4-BE49-F238E27FC236}">
                <a16:creationId xmlns:a16="http://schemas.microsoft.com/office/drawing/2014/main" id="{EB7F0EFA-7E9B-380C-BF9D-D7C788880E96}"/>
              </a:ext>
            </a:extLst>
          </p:cNvPr>
          <p:cNvSpPr/>
          <p:nvPr/>
        </p:nvSpPr>
        <p:spPr bwMode="gray">
          <a:xfrm rot="20063387">
            <a:off x="10526231" y="5332607"/>
            <a:ext cx="914400" cy="404037"/>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b="1" dirty="0">
                <a:solidFill>
                  <a:srgbClr val="FF0000"/>
                </a:solidFill>
              </a:rPr>
              <a:t>範例</a:t>
            </a:r>
          </a:p>
        </p:txBody>
      </p:sp>
    </p:spTree>
    <p:extLst>
      <p:ext uri="{BB962C8B-B14F-4D97-AF65-F5344CB8AC3E}">
        <p14:creationId xmlns:p14="http://schemas.microsoft.com/office/powerpoint/2010/main" val="3594102102"/>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說明手冊</a:t>
            </a:r>
            <a:r>
              <a:rPr lang="en-US" altLang="zh-TW" b="1" dirty="0"/>
              <a:t>-</a:t>
            </a:r>
            <a:r>
              <a:rPr lang="zh-TW" altLang="en-US" b="1" dirty="0"/>
              <a:t>必要性及適法性分析書件</a:t>
            </a:r>
            <a:r>
              <a:rPr lang="en-US" altLang="zh-TW" b="1" dirty="0"/>
              <a:t>(</a:t>
            </a:r>
            <a:r>
              <a:rPr lang="zh-TW" altLang="en-US" b="1" dirty="0"/>
              <a:t>附件六</a:t>
            </a:r>
            <a:r>
              <a:rPr lang="en-US" altLang="zh-TW" b="1" dirty="0"/>
              <a:t>)</a:t>
            </a:r>
            <a:endParaRPr lang="zh-TW" altLang="en-US" b="1" dirty="0"/>
          </a:p>
        </p:txBody>
      </p:sp>
      <p:sp>
        <p:nvSpPr>
          <p:cNvPr id="10" name="矩形: 圓角 9">
            <a:extLst>
              <a:ext uri="{FF2B5EF4-FFF2-40B4-BE49-F238E27FC236}">
                <a16:creationId xmlns:a16="http://schemas.microsoft.com/office/drawing/2014/main" id="{9384CC27-C57E-794A-B897-5E8FD8DED895}"/>
              </a:ext>
            </a:extLst>
          </p:cNvPr>
          <p:cNvSpPr/>
          <p:nvPr/>
        </p:nvSpPr>
        <p:spPr bwMode="gray">
          <a:xfrm>
            <a:off x="4209843" y="1540965"/>
            <a:ext cx="1144270" cy="4010106"/>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必要性及適法性分析書件</a:t>
            </a:r>
            <a:r>
              <a:rPr lang="en-US" altLang="zh-TW" sz="1600" b="1" dirty="0">
                <a:solidFill>
                  <a:schemeClr val="bg1"/>
                </a:solidFill>
              </a:rPr>
              <a:t>(</a:t>
            </a:r>
            <a:r>
              <a:rPr lang="zh-TW" altLang="en-US" sz="1600" b="1" dirty="0">
                <a:solidFill>
                  <a:schemeClr val="bg1"/>
                </a:solidFill>
              </a:rPr>
              <a:t>附件六</a:t>
            </a:r>
            <a:r>
              <a:rPr lang="en-US" altLang="zh-TW" sz="1600" b="1" dirty="0">
                <a:solidFill>
                  <a:schemeClr val="bg1"/>
                </a:solidFill>
              </a:rPr>
              <a:t>)</a:t>
            </a:r>
            <a:endParaRPr lang="zh-TW" altLang="en-US" sz="1600" b="1" dirty="0">
              <a:solidFill>
                <a:schemeClr val="bg1"/>
              </a:solidFill>
            </a:endParaRPr>
          </a:p>
        </p:txBody>
      </p:sp>
      <p:cxnSp>
        <p:nvCxnSpPr>
          <p:cNvPr id="39" name="直線接點 38">
            <a:extLst>
              <a:ext uri="{FF2B5EF4-FFF2-40B4-BE49-F238E27FC236}">
                <a16:creationId xmlns:a16="http://schemas.microsoft.com/office/drawing/2014/main" id="{F03CAFF7-C0E1-4C51-362B-5C768D7439F0}"/>
              </a:ext>
            </a:extLst>
          </p:cNvPr>
          <p:cNvCxnSpPr>
            <a:cxnSpLocks/>
          </p:cNvCxnSpPr>
          <p:nvPr/>
        </p:nvCxnSpPr>
        <p:spPr>
          <a:xfrm>
            <a:off x="5354113" y="2010003"/>
            <a:ext cx="741887" cy="0"/>
          </a:xfrm>
          <a:prstGeom prst="line">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矩形: 圓角 43">
            <a:extLst>
              <a:ext uri="{FF2B5EF4-FFF2-40B4-BE49-F238E27FC236}">
                <a16:creationId xmlns:a16="http://schemas.microsoft.com/office/drawing/2014/main" id="{B2A2BEBC-18BD-4E1A-49BC-D0B7C9E62254}"/>
              </a:ext>
            </a:extLst>
          </p:cNvPr>
          <p:cNvSpPr/>
          <p:nvPr/>
        </p:nvSpPr>
        <p:spPr bwMode="gray">
          <a:xfrm>
            <a:off x="6096000" y="1544105"/>
            <a:ext cx="5832261" cy="914400"/>
          </a:xfrm>
          <a:prstGeom prst="roundRect">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此文件為申報主管機關核准需預備文件之一</a:t>
            </a:r>
          </a:p>
        </p:txBody>
      </p:sp>
      <p:sp>
        <p:nvSpPr>
          <p:cNvPr id="15" name="矩形 14">
            <a:extLst>
              <a:ext uri="{FF2B5EF4-FFF2-40B4-BE49-F238E27FC236}">
                <a16:creationId xmlns:a16="http://schemas.microsoft.com/office/drawing/2014/main" id="{EB7F0EFA-7E9B-380C-BF9D-D7C788880E96}"/>
              </a:ext>
            </a:extLst>
          </p:cNvPr>
          <p:cNvSpPr/>
          <p:nvPr/>
        </p:nvSpPr>
        <p:spPr bwMode="gray">
          <a:xfrm rot="20063387">
            <a:off x="12419595" y="5349053"/>
            <a:ext cx="914400" cy="404037"/>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b="1" dirty="0">
                <a:solidFill>
                  <a:srgbClr val="FF0000"/>
                </a:solidFill>
              </a:rPr>
              <a:t>範例</a:t>
            </a:r>
          </a:p>
        </p:txBody>
      </p:sp>
      <p:sp>
        <p:nvSpPr>
          <p:cNvPr id="16" name="矩形: 圓角 15">
            <a:extLst>
              <a:ext uri="{FF2B5EF4-FFF2-40B4-BE49-F238E27FC236}">
                <a16:creationId xmlns:a16="http://schemas.microsoft.com/office/drawing/2014/main" id="{A0E892D1-3992-B32E-00C2-EF27458663DE}"/>
              </a:ext>
            </a:extLst>
          </p:cNvPr>
          <p:cNvSpPr/>
          <p:nvPr/>
        </p:nvSpPr>
        <p:spPr bwMode="gray">
          <a:xfrm>
            <a:off x="690880" y="1540965"/>
            <a:ext cx="1727200" cy="938075"/>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其他經主管機關核定得委外之作業項目。</a:t>
            </a:r>
          </a:p>
        </p:txBody>
      </p:sp>
      <p:cxnSp>
        <p:nvCxnSpPr>
          <p:cNvPr id="20" name="直線單箭頭接點 19">
            <a:extLst>
              <a:ext uri="{FF2B5EF4-FFF2-40B4-BE49-F238E27FC236}">
                <a16:creationId xmlns:a16="http://schemas.microsoft.com/office/drawing/2014/main" id="{582051DC-4944-338F-0782-CB5BF2AD6EAE}"/>
              </a:ext>
            </a:extLst>
          </p:cNvPr>
          <p:cNvCxnSpPr>
            <a:stCxn id="16" idx="3"/>
          </p:cNvCxnSpPr>
          <p:nvPr/>
        </p:nvCxnSpPr>
        <p:spPr>
          <a:xfrm>
            <a:off x="2418080" y="2010003"/>
            <a:ext cx="1791763" cy="11837"/>
          </a:xfrm>
          <a:prstGeom prst="straightConnector1">
            <a:avLst/>
          </a:prstGeom>
          <a:ln w="28575">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21" name="矩形: 圓角 20">
            <a:extLst>
              <a:ext uri="{FF2B5EF4-FFF2-40B4-BE49-F238E27FC236}">
                <a16:creationId xmlns:a16="http://schemas.microsoft.com/office/drawing/2014/main" id="{93794DE7-2E0D-1928-5849-7533D62F19D2}"/>
              </a:ext>
            </a:extLst>
          </p:cNvPr>
          <p:cNvSpPr/>
          <p:nvPr/>
        </p:nvSpPr>
        <p:spPr bwMode="gray">
          <a:xfrm>
            <a:off x="690880" y="3238116"/>
            <a:ext cx="1727200" cy="582474"/>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重大性</a:t>
            </a:r>
          </a:p>
        </p:txBody>
      </p:sp>
      <p:sp>
        <p:nvSpPr>
          <p:cNvPr id="22" name="矩形: 圓角 21">
            <a:extLst>
              <a:ext uri="{FF2B5EF4-FFF2-40B4-BE49-F238E27FC236}">
                <a16:creationId xmlns:a16="http://schemas.microsoft.com/office/drawing/2014/main" id="{C722A9C2-4BB4-4FC4-0D5C-11339F340986}"/>
              </a:ext>
            </a:extLst>
          </p:cNvPr>
          <p:cNvSpPr/>
          <p:nvPr/>
        </p:nvSpPr>
        <p:spPr bwMode="gray">
          <a:xfrm>
            <a:off x="690880" y="4135121"/>
            <a:ext cx="1727200" cy="582474"/>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a:solidFill>
                  <a:schemeClr val="bg1"/>
                </a:solidFill>
              </a:rPr>
              <a:t>自然人客戶業務資訊系統</a:t>
            </a:r>
            <a:endParaRPr lang="zh-TW" altLang="en-US" sz="1600" b="1" dirty="0">
              <a:solidFill>
                <a:schemeClr val="bg1"/>
              </a:solidFill>
            </a:endParaRPr>
          </a:p>
        </p:txBody>
      </p:sp>
      <p:sp>
        <p:nvSpPr>
          <p:cNvPr id="23" name="矩形: 圓角 22">
            <a:extLst>
              <a:ext uri="{FF2B5EF4-FFF2-40B4-BE49-F238E27FC236}">
                <a16:creationId xmlns:a16="http://schemas.microsoft.com/office/drawing/2014/main" id="{F4D68E18-D96D-AABA-8661-842E6B2BD247}"/>
              </a:ext>
            </a:extLst>
          </p:cNvPr>
          <p:cNvSpPr/>
          <p:nvPr/>
        </p:nvSpPr>
        <p:spPr bwMode="gray">
          <a:xfrm>
            <a:off x="687070" y="5025798"/>
            <a:ext cx="1727200" cy="582474"/>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委託至境外</a:t>
            </a:r>
          </a:p>
        </p:txBody>
      </p:sp>
      <p:cxnSp>
        <p:nvCxnSpPr>
          <p:cNvPr id="25" name="直線單箭頭接點 24">
            <a:extLst>
              <a:ext uri="{FF2B5EF4-FFF2-40B4-BE49-F238E27FC236}">
                <a16:creationId xmlns:a16="http://schemas.microsoft.com/office/drawing/2014/main" id="{649B7062-4A6B-F3A3-47B6-D96CE0B37506}"/>
              </a:ext>
            </a:extLst>
          </p:cNvPr>
          <p:cNvCxnSpPr>
            <a:stCxn id="22" idx="3"/>
          </p:cNvCxnSpPr>
          <p:nvPr/>
        </p:nvCxnSpPr>
        <p:spPr>
          <a:xfrm>
            <a:off x="2418080" y="4426358"/>
            <a:ext cx="1791763" cy="0"/>
          </a:xfrm>
          <a:prstGeom prst="straightConnector1">
            <a:avLst/>
          </a:prstGeom>
          <a:ln w="28575">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26" name="矩形 25">
            <a:extLst>
              <a:ext uri="{FF2B5EF4-FFF2-40B4-BE49-F238E27FC236}">
                <a16:creationId xmlns:a16="http://schemas.microsoft.com/office/drawing/2014/main" id="{5B071F33-DE50-3E0D-5355-8CADAA5F2D7B}"/>
              </a:ext>
            </a:extLst>
          </p:cNvPr>
          <p:cNvSpPr/>
          <p:nvPr/>
        </p:nvSpPr>
        <p:spPr bwMode="gray">
          <a:xfrm>
            <a:off x="2997200" y="3238116"/>
            <a:ext cx="470756" cy="2370154"/>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同時滿足三個條件</a:t>
            </a:r>
          </a:p>
        </p:txBody>
      </p:sp>
      <p:cxnSp>
        <p:nvCxnSpPr>
          <p:cNvPr id="28" name="直線接點 27">
            <a:extLst>
              <a:ext uri="{FF2B5EF4-FFF2-40B4-BE49-F238E27FC236}">
                <a16:creationId xmlns:a16="http://schemas.microsoft.com/office/drawing/2014/main" id="{9DD398FE-7001-6AC6-452C-185C62F8A294}"/>
              </a:ext>
            </a:extLst>
          </p:cNvPr>
          <p:cNvCxnSpPr>
            <a:cxnSpLocks/>
            <a:stCxn id="21" idx="3"/>
          </p:cNvCxnSpPr>
          <p:nvPr/>
        </p:nvCxnSpPr>
        <p:spPr>
          <a:xfrm>
            <a:off x="2418080" y="3529353"/>
            <a:ext cx="579120" cy="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1" name="直線接點 30">
            <a:extLst>
              <a:ext uri="{FF2B5EF4-FFF2-40B4-BE49-F238E27FC236}">
                <a16:creationId xmlns:a16="http://schemas.microsoft.com/office/drawing/2014/main" id="{2D1522EF-B348-C190-CCF3-054E1F158EF9}"/>
              </a:ext>
            </a:extLst>
          </p:cNvPr>
          <p:cNvCxnSpPr>
            <a:cxnSpLocks/>
            <a:stCxn id="23" idx="3"/>
          </p:cNvCxnSpPr>
          <p:nvPr/>
        </p:nvCxnSpPr>
        <p:spPr>
          <a:xfrm flipV="1">
            <a:off x="2414270" y="5317034"/>
            <a:ext cx="582930" cy="1"/>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矩形: 圓角 33">
            <a:extLst>
              <a:ext uri="{FF2B5EF4-FFF2-40B4-BE49-F238E27FC236}">
                <a16:creationId xmlns:a16="http://schemas.microsoft.com/office/drawing/2014/main" id="{2F9D91CB-36AC-C248-0DD7-F9DC64BCC212}"/>
              </a:ext>
            </a:extLst>
          </p:cNvPr>
          <p:cNvSpPr/>
          <p:nvPr/>
        </p:nvSpPr>
        <p:spPr bwMode="gray">
          <a:xfrm>
            <a:off x="6095999" y="3656316"/>
            <a:ext cx="2581200" cy="1894753"/>
          </a:xfrm>
          <a:prstGeom prst="roundRect">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本案背景及必要性與效益分析</a:t>
            </a:r>
          </a:p>
        </p:txBody>
      </p:sp>
      <p:sp>
        <p:nvSpPr>
          <p:cNvPr id="35" name="矩形: 圓角 34">
            <a:extLst>
              <a:ext uri="{FF2B5EF4-FFF2-40B4-BE49-F238E27FC236}">
                <a16:creationId xmlns:a16="http://schemas.microsoft.com/office/drawing/2014/main" id="{85B4BEF1-F001-C449-7F5F-8554095FD13F}"/>
              </a:ext>
            </a:extLst>
          </p:cNvPr>
          <p:cNvSpPr/>
          <p:nvPr/>
        </p:nvSpPr>
        <p:spPr bwMode="gray">
          <a:xfrm>
            <a:off x="9347200" y="3656315"/>
            <a:ext cx="2581061" cy="1894753"/>
          </a:xfrm>
          <a:prstGeom prst="roundRect">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適法性分析</a:t>
            </a:r>
          </a:p>
        </p:txBody>
      </p:sp>
      <p:cxnSp>
        <p:nvCxnSpPr>
          <p:cNvPr id="37" name="接點: 肘形 36">
            <a:extLst>
              <a:ext uri="{FF2B5EF4-FFF2-40B4-BE49-F238E27FC236}">
                <a16:creationId xmlns:a16="http://schemas.microsoft.com/office/drawing/2014/main" id="{8DE3F507-964E-16EE-406B-5F8911C1F6AB}"/>
              </a:ext>
            </a:extLst>
          </p:cNvPr>
          <p:cNvCxnSpPr>
            <a:stCxn id="44" idx="2"/>
            <a:endCxn id="34" idx="0"/>
          </p:cNvCxnSpPr>
          <p:nvPr/>
        </p:nvCxnSpPr>
        <p:spPr>
          <a:xfrm rot="5400000">
            <a:off x="7600460" y="2244644"/>
            <a:ext cx="1197811" cy="1625532"/>
          </a:xfrm>
          <a:prstGeom prst="bentConnector3">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0" name="接點: 肘形 39">
            <a:extLst>
              <a:ext uri="{FF2B5EF4-FFF2-40B4-BE49-F238E27FC236}">
                <a16:creationId xmlns:a16="http://schemas.microsoft.com/office/drawing/2014/main" id="{1528FF8C-5531-B850-327F-095199778C88}"/>
              </a:ext>
            </a:extLst>
          </p:cNvPr>
          <p:cNvCxnSpPr>
            <a:stCxn id="44" idx="2"/>
            <a:endCxn id="35" idx="0"/>
          </p:cNvCxnSpPr>
          <p:nvPr/>
        </p:nvCxnSpPr>
        <p:spPr>
          <a:xfrm rot="16200000" flipH="1">
            <a:off x="9226026" y="2244610"/>
            <a:ext cx="1197810" cy="1625600"/>
          </a:xfrm>
          <a:prstGeom prst="bentConnector3">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0923818"/>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標題 7">
            <a:extLst>
              <a:ext uri="{FF2B5EF4-FFF2-40B4-BE49-F238E27FC236}">
                <a16:creationId xmlns:a16="http://schemas.microsoft.com/office/drawing/2014/main" id="{5DB9AC31-7037-25CF-6D81-1520C550D85B}"/>
              </a:ext>
            </a:extLst>
          </p:cNvPr>
          <p:cNvSpPr>
            <a:spLocks noGrp="1"/>
          </p:cNvSpPr>
          <p:nvPr>
            <p:ph type="title"/>
          </p:nvPr>
        </p:nvSpPr>
        <p:spPr/>
        <p:txBody>
          <a:bodyPr/>
          <a:lstStyle/>
          <a:p>
            <a:r>
              <a:rPr lang="zh-TW" altLang="en-US" b="1" dirty="0"/>
              <a:t>會議議程</a:t>
            </a:r>
          </a:p>
        </p:txBody>
      </p:sp>
      <p:sp>
        <p:nvSpPr>
          <p:cNvPr id="10" name="標題 7">
            <a:extLst>
              <a:ext uri="{FF2B5EF4-FFF2-40B4-BE49-F238E27FC236}">
                <a16:creationId xmlns:a16="http://schemas.microsoft.com/office/drawing/2014/main" id="{9CD6A8F2-62CB-298B-E755-2E4726DA41A8}"/>
              </a:ext>
            </a:extLst>
          </p:cNvPr>
          <p:cNvSpPr txBox="1">
            <a:spLocks/>
          </p:cNvSpPr>
          <p:nvPr/>
        </p:nvSpPr>
        <p:spPr bwMode="gray">
          <a:xfrm>
            <a:off x="469900" y="965533"/>
            <a:ext cx="8242301" cy="5097809"/>
          </a:xfrm>
          <a:prstGeom prst="rect">
            <a:avLst/>
          </a:prstGeom>
        </p:spPr>
        <p:txBody>
          <a:bodyPr vert="horz" lIns="0" tIns="0" rIns="0" bIns="0" rtlCol="0" anchor="t" anchorCtr="0">
            <a:noAutofit/>
          </a:bodyPr>
          <a:lstStyle>
            <a:lvl1pPr algn="l" defTabSz="1219110" rtl="0" eaLnBrk="1" latinLnBrk="0" hangingPunct="1">
              <a:spcBef>
                <a:spcPct val="0"/>
              </a:spcBef>
              <a:buNone/>
              <a:defRPr sz="2100" kern="1200">
                <a:solidFill>
                  <a:schemeClr val="accent1"/>
                </a:solidFill>
                <a:latin typeface="+mj-lt"/>
                <a:ea typeface="微軟正黑體" panose="020B0604030504040204" pitchFamily="34" charset="-120"/>
                <a:cs typeface="+mj-cs"/>
              </a:defRPr>
            </a:lvl1pPr>
          </a:lstStyle>
          <a:p>
            <a:pPr marL="342900" indent="-342900">
              <a:lnSpc>
                <a:spcPct val="150000"/>
              </a:lnSpc>
              <a:buFont typeface="Arial" panose="020B0604020202020204" pitchFamily="34" charset="0"/>
              <a:buChar char="•"/>
            </a:pPr>
            <a:r>
              <a:rPr lang="zh-TW" altLang="en-US" sz="3700" b="1" dirty="0">
                <a:solidFill>
                  <a:schemeClr val="bg1"/>
                </a:solidFill>
              </a:rPr>
              <a:t>專案進度報告</a:t>
            </a:r>
            <a:endParaRPr lang="en-US" altLang="zh-TW" sz="3700" b="1" dirty="0">
              <a:solidFill>
                <a:schemeClr val="bg1"/>
              </a:solidFill>
            </a:endParaRPr>
          </a:p>
          <a:p>
            <a:pPr marL="342900" indent="-342900">
              <a:lnSpc>
                <a:spcPct val="150000"/>
              </a:lnSpc>
              <a:buFont typeface="Arial" panose="020B0604020202020204" pitchFamily="34" charset="0"/>
              <a:buChar char="•"/>
            </a:pPr>
            <a:r>
              <a:rPr lang="zh-TW" altLang="en-US" sz="3700" b="1" dirty="0">
                <a:solidFill>
                  <a:schemeClr val="bg1"/>
                </a:solidFill>
              </a:rPr>
              <a:t>範本說明</a:t>
            </a:r>
            <a:endParaRPr lang="en-US" altLang="zh-TW" sz="3700" b="1" dirty="0">
              <a:solidFill>
                <a:schemeClr val="bg1"/>
              </a:solidFill>
            </a:endParaRPr>
          </a:p>
          <a:p>
            <a:pPr marL="342900" indent="-342900">
              <a:lnSpc>
                <a:spcPct val="150000"/>
              </a:lnSpc>
              <a:buFont typeface="Arial" panose="020B0604020202020204" pitchFamily="34" charset="0"/>
              <a:buChar char="•"/>
            </a:pPr>
            <a:r>
              <a:rPr lang="en-US" altLang="zh-TW" sz="3700" b="1" dirty="0">
                <a:solidFill>
                  <a:schemeClr val="bg1"/>
                </a:solidFill>
              </a:rPr>
              <a:t>FAQ</a:t>
            </a:r>
          </a:p>
          <a:p>
            <a:pPr marL="342900" indent="-342900">
              <a:lnSpc>
                <a:spcPct val="150000"/>
              </a:lnSpc>
              <a:buFont typeface="Arial" panose="020B0604020202020204" pitchFamily="34" charset="0"/>
              <a:buChar char="•"/>
            </a:pPr>
            <a:endParaRPr lang="zh-TW" altLang="en-US" sz="3200" b="1" dirty="0">
              <a:solidFill>
                <a:schemeClr val="bg1"/>
              </a:solidFill>
            </a:endParaRPr>
          </a:p>
        </p:txBody>
      </p:sp>
    </p:spTree>
    <p:extLst>
      <p:ext uri="{BB962C8B-B14F-4D97-AF65-F5344CB8AC3E}">
        <p14:creationId xmlns:p14="http://schemas.microsoft.com/office/powerpoint/2010/main" val="3528278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直線接點 11">
            <a:extLst>
              <a:ext uri="{FF2B5EF4-FFF2-40B4-BE49-F238E27FC236}">
                <a16:creationId xmlns:a16="http://schemas.microsoft.com/office/drawing/2014/main" id="{9F7FB3EF-6113-E11D-9A8E-C7AB2C38D52E}"/>
              </a:ext>
            </a:extLst>
          </p:cNvPr>
          <p:cNvCxnSpPr>
            <a:cxnSpLocks/>
            <a:stCxn id="22" idx="2"/>
            <a:endCxn id="8" idx="0"/>
          </p:cNvCxnSpPr>
          <p:nvPr/>
        </p:nvCxnSpPr>
        <p:spPr>
          <a:xfrm>
            <a:off x="6096000" y="3195080"/>
            <a:ext cx="8255" cy="2712892"/>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說明手冊</a:t>
            </a:r>
            <a:r>
              <a:rPr lang="en-US" altLang="zh-TW" b="1" dirty="0"/>
              <a:t>-</a:t>
            </a:r>
            <a:r>
              <a:rPr lang="zh-TW" altLang="en-US" b="1" dirty="0"/>
              <a:t>作業委外計劃書</a:t>
            </a:r>
            <a:r>
              <a:rPr lang="en-US" altLang="zh-TW" b="1" dirty="0"/>
              <a:t>(</a:t>
            </a:r>
            <a:r>
              <a:rPr lang="zh-TW" altLang="en-US" b="1" dirty="0"/>
              <a:t>附件七</a:t>
            </a:r>
            <a:r>
              <a:rPr lang="en-US" altLang="zh-TW" b="1" dirty="0"/>
              <a:t>)</a:t>
            </a:r>
            <a:endParaRPr lang="zh-TW" altLang="en-US" b="1" dirty="0"/>
          </a:p>
        </p:txBody>
      </p:sp>
      <p:sp>
        <p:nvSpPr>
          <p:cNvPr id="15" name="矩形 14">
            <a:extLst>
              <a:ext uri="{FF2B5EF4-FFF2-40B4-BE49-F238E27FC236}">
                <a16:creationId xmlns:a16="http://schemas.microsoft.com/office/drawing/2014/main" id="{EB7F0EFA-7E9B-380C-BF9D-D7C788880E96}"/>
              </a:ext>
            </a:extLst>
          </p:cNvPr>
          <p:cNvSpPr/>
          <p:nvPr/>
        </p:nvSpPr>
        <p:spPr bwMode="gray">
          <a:xfrm rot="20063387">
            <a:off x="12419595" y="5349053"/>
            <a:ext cx="914400" cy="404037"/>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b="1" dirty="0">
                <a:solidFill>
                  <a:srgbClr val="FF0000"/>
                </a:solidFill>
              </a:rPr>
              <a:t>範例</a:t>
            </a:r>
          </a:p>
        </p:txBody>
      </p:sp>
      <p:sp>
        <p:nvSpPr>
          <p:cNvPr id="16" name="矩形: 圓角 15">
            <a:extLst>
              <a:ext uri="{FF2B5EF4-FFF2-40B4-BE49-F238E27FC236}">
                <a16:creationId xmlns:a16="http://schemas.microsoft.com/office/drawing/2014/main" id="{A0E892D1-3992-B32E-00C2-EF27458663DE}"/>
              </a:ext>
            </a:extLst>
          </p:cNvPr>
          <p:cNvSpPr/>
          <p:nvPr/>
        </p:nvSpPr>
        <p:spPr bwMode="gray">
          <a:xfrm>
            <a:off x="4693920" y="1051392"/>
            <a:ext cx="2804160" cy="938075"/>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作業委外計劃書</a:t>
            </a:r>
            <a:r>
              <a:rPr lang="en-US" altLang="zh-TW" sz="1600" b="1" dirty="0">
                <a:solidFill>
                  <a:schemeClr val="bg1"/>
                </a:solidFill>
              </a:rPr>
              <a:t>(</a:t>
            </a:r>
            <a:r>
              <a:rPr lang="zh-TW" altLang="en-US" sz="1600" b="1" dirty="0">
                <a:solidFill>
                  <a:schemeClr val="bg1"/>
                </a:solidFill>
              </a:rPr>
              <a:t>附件七</a:t>
            </a:r>
            <a:r>
              <a:rPr lang="en-US" altLang="zh-TW" sz="1600" b="1" dirty="0">
                <a:solidFill>
                  <a:schemeClr val="bg1"/>
                </a:solidFill>
              </a:rPr>
              <a:t>)</a:t>
            </a:r>
            <a:endParaRPr lang="zh-TW" altLang="en-US" sz="1600" b="1" dirty="0">
              <a:solidFill>
                <a:schemeClr val="bg1"/>
              </a:solidFill>
            </a:endParaRPr>
          </a:p>
        </p:txBody>
      </p:sp>
      <p:cxnSp>
        <p:nvCxnSpPr>
          <p:cNvPr id="17" name="直線接點 16">
            <a:extLst>
              <a:ext uri="{FF2B5EF4-FFF2-40B4-BE49-F238E27FC236}">
                <a16:creationId xmlns:a16="http://schemas.microsoft.com/office/drawing/2014/main" id="{D8C415B3-E925-763A-4AAF-CAFDB927FF9D}"/>
              </a:ext>
            </a:extLst>
          </p:cNvPr>
          <p:cNvCxnSpPr>
            <a:cxnSpLocks/>
            <a:stCxn id="21" idx="2"/>
            <a:endCxn id="4" idx="0"/>
          </p:cNvCxnSpPr>
          <p:nvPr/>
        </p:nvCxnSpPr>
        <p:spPr>
          <a:xfrm>
            <a:off x="2080895" y="3195080"/>
            <a:ext cx="0" cy="1060244"/>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21" name="矩形: 圓角 20">
            <a:extLst>
              <a:ext uri="{FF2B5EF4-FFF2-40B4-BE49-F238E27FC236}">
                <a16:creationId xmlns:a16="http://schemas.microsoft.com/office/drawing/2014/main" id="{93794DE7-2E0D-1928-5849-7533D62F19D2}"/>
              </a:ext>
            </a:extLst>
          </p:cNvPr>
          <p:cNvSpPr/>
          <p:nvPr/>
        </p:nvSpPr>
        <p:spPr bwMode="gray">
          <a:xfrm>
            <a:off x="687070" y="2612606"/>
            <a:ext cx="2787650" cy="582474"/>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作業委外範圍與計畫說明</a:t>
            </a:r>
          </a:p>
        </p:txBody>
      </p:sp>
      <p:sp>
        <p:nvSpPr>
          <p:cNvPr id="22" name="矩形: 圓角 21">
            <a:extLst>
              <a:ext uri="{FF2B5EF4-FFF2-40B4-BE49-F238E27FC236}">
                <a16:creationId xmlns:a16="http://schemas.microsoft.com/office/drawing/2014/main" id="{C722A9C2-4BB4-4FC4-0D5C-11339F340986}"/>
              </a:ext>
            </a:extLst>
          </p:cNvPr>
          <p:cNvSpPr/>
          <p:nvPr/>
        </p:nvSpPr>
        <p:spPr bwMode="gray">
          <a:xfrm>
            <a:off x="4702175" y="2612606"/>
            <a:ext cx="2787650" cy="582474"/>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風險評估與資安管理機制</a:t>
            </a:r>
          </a:p>
        </p:txBody>
      </p:sp>
      <p:sp>
        <p:nvSpPr>
          <p:cNvPr id="23" name="矩形: 圓角 22">
            <a:extLst>
              <a:ext uri="{FF2B5EF4-FFF2-40B4-BE49-F238E27FC236}">
                <a16:creationId xmlns:a16="http://schemas.microsoft.com/office/drawing/2014/main" id="{F4D68E18-D96D-AABA-8661-842E6B2BD247}"/>
              </a:ext>
            </a:extLst>
          </p:cNvPr>
          <p:cNvSpPr/>
          <p:nvPr/>
        </p:nvSpPr>
        <p:spPr bwMode="gray">
          <a:xfrm>
            <a:off x="8712202" y="2612606"/>
            <a:ext cx="2792728" cy="582474"/>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緊急應變與退場機制</a:t>
            </a:r>
          </a:p>
        </p:txBody>
      </p:sp>
      <p:sp>
        <p:nvSpPr>
          <p:cNvPr id="3" name="矩形 2">
            <a:extLst>
              <a:ext uri="{FF2B5EF4-FFF2-40B4-BE49-F238E27FC236}">
                <a16:creationId xmlns:a16="http://schemas.microsoft.com/office/drawing/2014/main" id="{8B62916D-C166-BD68-F939-1E73F75F3BAD}"/>
              </a:ext>
            </a:extLst>
          </p:cNvPr>
          <p:cNvSpPr/>
          <p:nvPr/>
        </p:nvSpPr>
        <p:spPr bwMode="gray">
          <a:xfrm>
            <a:off x="687070" y="3429000"/>
            <a:ext cx="2787650" cy="7264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作業委外範圍說明</a:t>
            </a:r>
          </a:p>
        </p:txBody>
      </p:sp>
      <p:sp>
        <p:nvSpPr>
          <p:cNvPr id="4" name="矩形 3">
            <a:extLst>
              <a:ext uri="{FF2B5EF4-FFF2-40B4-BE49-F238E27FC236}">
                <a16:creationId xmlns:a16="http://schemas.microsoft.com/office/drawing/2014/main" id="{09E3DA56-F472-B0CB-61F0-819096037AF3}"/>
              </a:ext>
            </a:extLst>
          </p:cNvPr>
          <p:cNvSpPr/>
          <p:nvPr/>
        </p:nvSpPr>
        <p:spPr bwMode="gray">
          <a:xfrm>
            <a:off x="687070" y="4255324"/>
            <a:ext cx="2787650" cy="7264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本作業委外業務所涉資料說明</a:t>
            </a:r>
          </a:p>
        </p:txBody>
      </p:sp>
      <p:sp>
        <p:nvSpPr>
          <p:cNvPr id="5" name="矩形 4">
            <a:extLst>
              <a:ext uri="{FF2B5EF4-FFF2-40B4-BE49-F238E27FC236}">
                <a16:creationId xmlns:a16="http://schemas.microsoft.com/office/drawing/2014/main" id="{DEC05299-AB2A-7F6C-C908-2C89CB059CFC}"/>
              </a:ext>
            </a:extLst>
          </p:cNvPr>
          <p:cNvSpPr/>
          <p:nvPr/>
        </p:nvSpPr>
        <p:spPr bwMode="gray">
          <a:xfrm>
            <a:off x="4693920" y="3429000"/>
            <a:ext cx="2787650" cy="7264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本作業委外案之風險控管</a:t>
            </a:r>
          </a:p>
        </p:txBody>
      </p:sp>
      <p:sp>
        <p:nvSpPr>
          <p:cNvPr id="6" name="矩形 5">
            <a:extLst>
              <a:ext uri="{FF2B5EF4-FFF2-40B4-BE49-F238E27FC236}">
                <a16:creationId xmlns:a16="http://schemas.microsoft.com/office/drawing/2014/main" id="{9495156A-045B-CE91-7EE0-798F5806C270}"/>
              </a:ext>
            </a:extLst>
          </p:cNvPr>
          <p:cNvSpPr/>
          <p:nvPr/>
        </p:nvSpPr>
        <p:spPr bwMode="gray">
          <a:xfrm>
            <a:off x="4710430" y="4255324"/>
            <a:ext cx="2787650" cy="7264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本作業委外案資安控管</a:t>
            </a:r>
          </a:p>
        </p:txBody>
      </p:sp>
      <p:sp>
        <p:nvSpPr>
          <p:cNvPr id="7" name="矩形 6">
            <a:extLst>
              <a:ext uri="{FF2B5EF4-FFF2-40B4-BE49-F238E27FC236}">
                <a16:creationId xmlns:a16="http://schemas.microsoft.com/office/drawing/2014/main" id="{B7F99EF7-1B52-01B8-E864-0A2086D5E4DF}"/>
              </a:ext>
            </a:extLst>
          </p:cNvPr>
          <p:cNvSpPr/>
          <p:nvPr/>
        </p:nvSpPr>
        <p:spPr bwMode="gray">
          <a:xfrm>
            <a:off x="4710430" y="5081648"/>
            <a:ext cx="2787650" cy="7264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本作業委外案資料保護控管</a:t>
            </a:r>
          </a:p>
        </p:txBody>
      </p:sp>
      <p:sp>
        <p:nvSpPr>
          <p:cNvPr id="8" name="矩形 7">
            <a:extLst>
              <a:ext uri="{FF2B5EF4-FFF2-40B4-BE49-F238E27FC236}">
                <a16:creationId xmlns:a16="http://schemas.microsoft.com/office/drawing/2014/main" id="{E9FFDDE9-B412-2C28-59B8-671B7A281E0D}"/>
              </a:ext>
            </a:extLst>
          </p:cNvPr>
          <p:cNvSpPr/>
          <p:nvPr/>
        </p:nvSpPr>
        <p:spPr bwMode="gray">
          <a:xfrm>
            <a:off x="4710430" y="5907972"/>
            <a:ext cx="2787650" cy="7264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資料儲存地與備份機制</a:t>
            </a:r>
          </a:p>
        </p:txBody>
      </p:sp>
      <p:cxnSp>
        <p:nvCxnSpPr>
          <p:cNvPr id="11" name="直線接點 10">
            <a:extLst>
              <a:ext uri="{FF2B5EF4-FFF2-40B4-BE49-F238E27FC236}">
                <a16:creationId xmlns:a16="http://schemas.microsoft.com/office/drawing/2014/main" id="{8F3456EC-C685-4D66-5D2E-FE82A90EC40D}"/>
              </a:ext>
            </a:extLst>
          </p:cNvPr>
          <p:cNvCxnSpPr>
            <a:stCxn id="16" idx="2"/>
            <a:endCxn id="22" idx="0"/>
          </p:cNvCxnSpPr>
          <p:nvPr/>
        </p:nvCxnSpPr>
        <p:spPr>
          <a:xfrm>
            <a:off x="6096000" y="1989467"/>
            <a:ext cx="0" cy="623139"/>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直線接點 23">
            <a:extLst>
              <a:ext uri="{FF2B5EF4-FFF2-40B4-BE49-F238E27FC236}">
                <a16:creationId xmlns:a16="http://schemas.microsoft.com/office/drawing/2014/main" id="{4D28BB4A-0FC0-F8E9-7CB0-4B28A4BDC707}"/>
              </a:ext>
            </a:extLst>
          </p:cNvPr>
          <p:cNvCxnSpPr>
            <a:cxnSpLocks/>
            <a:stCxn id="23" idx="2"/>
            <a:endCxn id="32" idx="0"/>
          </p:cNvCxnSpPr>
          <p:nvPr/>
        </p:nvCxnSpPr>
        <p:spPr>
          <a:xfrm>
            <a:off x="10108566" y="3195080"/>
            <a:ext cx="10793" cy="2709374"/>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27" name="矩形 26">
            <a:extLst>
              <a:ext uri="{FF2B5EF4-FFF2-40B4-BE49-F238E27FC236}">
                <a16:creationId xmlns:a16="http://schemas.microsoft.com/office/drawing/2014/main" id="{8658770D-02BA-A812-2580-5F05552BFDFE}"/>
              </a:ext>
            </a:extLst>
          </p:cNvPr>
          <p:cNvSpPr/>
          <p:nvPr/>
        </p:nvSpPr>
        <p:spPr bwMode="gray">
          <a:xfrm>
            <a:off x="8709024" y="3425482"/>
            <a:ext cx="2787650" cy="7264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緊急應變機制</a:t>
            </a:r>
          </a:p>
        </p:txBody>
      </p:sp>
      <p:sp>
        <p:nvSpPr>
          <p:cNvPr id="29" name="矩形 28">
            <a:extLst>
              <a:ext uri="{FF2B5EF4-FFF2-40B4-BE49-F238E27FC236}">
                <a16:creationId xmlns:a16="http://schemas.microsoft.com/office/drawing/2014/main" id="{97D5B786-4ECB-F6E0-339C-E691289663BF}"/>
              </a:ext>
            </a:extLst>
          </p:cNvPr>
          <p:cNvSpPr/>
          <p:nvPr/>
        </p:nvSpPr>
        <p:spPr bwMode="gray">
          <a:xfrm>
            <a:off x="8725534" y="4251806"/>
            <a:ext cx="2787650" cy="7264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退場機制</a:t>
            </a:r>
          </a:p>
        </p:txBody>
      </p:sp>
      <p:sp>
        <p:nvSpPr>
          <p:cNvPr id="30" name="矩形 29">
            <a:extLst>
              <a:ext uri="{FF2B5EF4-FFF2-40B4-BE49-F238E27FC236}">
                <a16:creationId xmlns:a16="http://schemas.microsoft.com/office/drawing/2014/main" id="{9374F36F-E4A2-C2E5-37C6-D5EF0BD40C6C}"/>
              </a:ext>
            </a:extLst>
          </p:cNvPr>
          <p:cNvSpPr/>
          <p:nvPr/>
        </p:nvSpPr>
        <p:spPr bwMode="gray">
          <a:xfrm>
            <a:off x="8725534" y="5078130"/>
            <a:ext cx="2787650" cy="7264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服務中斷之營運持續計畫</a:t>
            </a:r>
          </a:p>
        </p:txBody>
      </p:sp>
      <p:sp>
        <p:nvSpPr>
          <p:cNvPr id="32" name="矩形 31">
            <a:extLst>
              <a:ext uri="{FF2B5EF4-FFF2-40B4-BE49-F238E27FC236}">
                <a16:creationId xmlns:a16="http://schemas.microsoft.com/office/drawing/2014/main" id="{83F31BB0-B502-89A0-ACA4-7E7521929E69}"/>
              </a:ext>
            </a:extLst>
          </p:cNvPr>
          <p:cNvSpPr/>
          <p:nvPr/>
        </p:nvSpPr>
        <p:spPr bwMode="gray">
          <a:xfrm>
            <a:off x="8725534" y="5904454"/>
            <a:ext cx="2787650" cy="7264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受委託業者資料刪除及銷毀紀錄之管理</a:t>
            </a:r>
          </a:p>
        </p:txBody>
      </p:sp>
      <p:cxnSp>
        <p:nvCxnSpPr>
          <p:cNvPr id="38" name="接點: 肘形 37">
            <a:extLst>
              <a:ext uri="{FF2B5EF4-FFF2-40B4-BE49-F238E27FC236}">
                <a16:creationId xmlns:a16="http://schemas.microsoft.com/office/drawing/2014/main" id="{7ABB7A7C-AFD9-D9BB-80DC-CD68C66BD892}"/>
              </a:ext>
            </a:extLst>
          </p:cNvPr>
          <p:cNvCxnSpPr>
            <a:stCxn id="16" idx="2"/>
            <a:endCxn id="21" idx="0"/>
          </p:cNvCxnSpPr>
          <p:nvPr/>
        </p:nvCxnSpPr>
        <p:spPr>
          <a:xfrm rot="5400000">
            <a:off x="3776879" y="293484"/>
            <a:ext cx="623139" cy="4015105"/>
          </a:xfrm>
          <a:prstGeom prst="bentConnector3">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2" name="接點: 肘形 41">
            <a:extLst>
              <a:ext uri="{FF2B5EF4-FFF2-40B4-BE49-F238E27FC236}">
                <a16:creationId xmlns:a16="http://schemas.microsoft.com/office/drawing/2014/main" id="{D798769A-E68E-C1D2-C54D-E4B29043E2E6}"/>
              </a:ext>
            </a:extLst>
          </p:cNvPr>
          <p:cNvCxnSpPr>
            <a:stCxn id="16" idx="2"/>
            <a:endCxn id="23" idx="0"/>
          </p:cNvCxnSpPr>
          <p:nvPr/>
        </p:nvCxnSpPr>
        <p:spPr>
          <a:xfrm rot="16200000" flipH="1">
            <a:off x="7790714" y="294753"/>
            <a:ext cx="623139" cy="4012566"/>
          </a:xfrm>
          <a:prstGeom prst="bentConnector3">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43" name="矩形 42">
            <a:extLst>
              <a:ext uri="{FF2B5EF4-FFF2-40B4-BE49-F238E27FC236}">
                <a16:creationId xmlns:a16="http://schemas.microsoft.com/office/drawing/2014/main" id="{E05BE606-0ACC-6005-0A0F-738C0FB99449}"/>
              </a:ext>
            </a:extLst>
          </p:cNvPr>
          <p:cNvSpPr/>
          <p:nvPr/>
        </p:nvSpPr>
        <p:spPr bwMode="gray">
          <a:xfrm rot="20063387">
            <a:off x="12571995" y="5501453"/>
            <a:ext cx="914400" cy="404037"/>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b="1" dirty="0">
                <a:solidFill>
                  <a:srgbClr val="FF0000"/>
                </a:solidFill>
              </a:rPr>
              <a:t>範例</a:t>
            </a:r>
          </a:p>
        </p:txBody>
      </p:sp>
    </p:spTree>
    <p:extLst>
      <p:ext uri="{BB962C8B-B14F-4D97-AF65-F5344CB8AC3E}">
        <p14:creationId xmlns:p14="http://schemas.microsoft.com/office/powerpoint/2010/main" val="1268585247"/>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說明手冊</a:t>
            </a:r>
            <a:r>
              <a:rPr lang="en-US" altLang="zh-TW" b="1" dirty="0"/>
              <a:t>-</a:t>
            </a:r>
            <a:r>
              <a:rPr lang="zh-TW" altLang="en-US" b="1" dirty="0"/>
              <a:t>雲端政策</a:t>
            </a:r>
            <a:r>
              <a:rPr lang="en-US" altLang="zh-TW" b="1" dirty="0"/>
              <a:t>(</a:t>
            </a:r>
            <a:r>
              <a:rPr lang="zh-TW" altLang="en-US" b="1" dirty="0"/>
              <a:t>附件八</a:t>
            </a:r>
            <a:r>
              <a:rPr lang="en-US" altLang="zh-TW" b="1" dirty="0"/>
              <a:t>)</a:t>
            </a:r>
            <a:endParaRPr lang="zh-TW" altLang="en-US" b="1" dirty="0"/>
          </a:p>
        </p:txBody>
      </p:sp>
      <p:sp>
        <p:nvSpPr>
          <p:cNvPr id="16" name="矩形: 圓角 15">
            <a:extLst>
              <a:ext uri="{FF2B5EF4-FFF2-40B4-BE49-F238E27FC236}">
                <a16:creationId xmlns:a16="http://schemas.microsoft.com/office/drawing/2014/main" id="{A0E892D1-3992-B32E-00C2-EF27458663DE}"/>
              </a:ext>
            </a:extLst>
          </p:cNvPr>
          <p:cNvSpPr/>
          <p:nvPr/>
        </p:nvSpPr>
        <p:spPr bwMode="gray">
          <a:xfrm>
            <a:off x="4846320" y="1012291"/>
            <a:ext cx="2804160" cy="938075"/>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雲端政策</a:t>
            </a:r>
            <a:r>
              <a:rPr lang="en-US" altLang="zh-TW" sz="1600" b="1" dirty="0">
                <a:solidFill>
                  <a:schemeClr val="bg1"/>
                </a:solidFill>
              </a:rPr>
              <a:t>(</a:t>
            </a:r>
            <a:r>
              <a:rPr lang="zh-TW" altLang="en-US" sz="1600" b="1" dirty="0">
                <a:solidFill>
                  <a:schemeClr val="bg1"/>
                </a:solidFill>
              </a:rPr>
              <a:t>附件八</a:t>
            </a:r>
            <a:r>
              <a:rPr lang="en-US" altLang="zh-TW" sz="1600" b="1" dirty="0">
                <a:solidFill>
                  <a:schemeClr val="bg1"/>
                </a:solidFill>
              </a:rPr>
              <a:t>)</a:t>
            </a:r>
            <a:endParaRPr lang="zh-TW" altLang="en-US" sz="1600" b="1" dirty="0">
              <a:solidFill>
                <a:schemeClr val="bg1"/>
              </a:solidFill>
            </a:endParaRPr>
          </a:p>
        </p:txBody>
      </p:sp>
      <p:sp>
        <p:nvSpPr>
          <p:cNvPr id="21" name="矩形: 圓角 20">
            <a:extLst>
              <a:ext uri="{FF2B5EF4-FFF2-40B4-BE49-F238E27FC236}">
                <a16:creationId xmlns:a16="http://schemas.microsoft.com/office/drawing/2014/main" id="{93794DE7-2E0D-1928-5849-7533D62F19D2}"/>
              </a:ext>
            </a:extLst>
          </p:cNvPr>
          <p:cNvSpPr/>
          <p:nvPr/>
        </p:nvSpPr>
        <p:spPr bwMode="gray">
          <a:xfrm>
            <a:off x="2881630" y="2612606"/>
            <a:ext cx="2787650" cy="582474"/>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適用範圍</a:t>
            </a:r>
          </a:p>
        </p:txBody>
      </p:sp>
      <p:sp>
        <p:nvSpPr>
          <p:cNvPr id="22" name="矩形: 圓角 21">
            <a:extLst>
              <a:ext uri="{FF2B5EF4-FFF2-40B4-BE49-F238E27FC236}">
                <a16:creationId xmlns:a16="http://schemas.microsoft.com/office/drawing/2014/main" id="{C722A9C2-4BB4-4FC4-0D5C-11339F340986}"/>
              </a:ext>
            </a:extLst>
          </p:cNvPr>
          <p:cNvSpPr/>
          <p:nvPr/>
        </p:nvSpPr>
        <p:spPr bwMode="gray">
          <a:xfrm>
            <a:off x="6896735" y="2612606"/>
            <a:ext cx="2787650" cy="582474"/>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建議使用方式</a:t>
            </a:r>
          </a:p>
        </p:txBody>
      </p:sp>
      <p:cxnSp>
        <p:nvCxnSpPr>
          <p:cNvPr id="38" name="接點: 肘形 37">
            <a:extLst>
              <a:ext uri="{FF2B5EF4-FFF2-40B4-BE49-F238E27FC236}">
                <a16:creationId xmlns:a16="http://schemas.microsoft.com/office/drawing/2014/main" id="{7ABB7A7C-AFD9-D9BB-80DC-CD68C66BD892}"/>
              </a:ext>
            </a:extLst>
          </p:cNvPr>
          <p:cNvCxnSpPr>
            <a:stCxn id="16" idx="2"/>
            <a:endCxn id="21" idx="0"/>
          </p:cNvCxnSpPr>
          <p:nvPr/>
        </p:nvCxnSpPr>
        <p:spPr>
          <a:xfrm rot="5400000">
            <a:off x="4930808" y="1295014"/>
            <a:ext cx="662240" cy="1972945"/>
          </a:xfrm>
          <a:prstGeom prst="bentConnector3">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9" name="矩形: 圓角 8">
            <a:extLst>
              <a:ext uri="{FF2B5EF4-FFF2-40B4-BE49-F238E27FC236}">
                <a16:creationId xmlns:a16="http://schemas.microsoft.com/office/drawing/2014/main" id="{350854B6-E9C4-7AB2-15A3-1EA3B9387742}"/>
              </a:ext>
            </a:extLst>
          </p:cNvPr>
          <p:cNvSpPr/>
          <p:nvPr/>
        </p:nvSpPr>
        <p:spPr bwMode="gray">
          <a:xfrm>
            <a:off x="2881630" y="3425482"/>
            <a:ext cx="2787650" cy="237908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所有雲端服務之使用皆包含在內，不限於雲端作業委外案件。</a:t>
            </a:r>
          </a:p>
        </p:txBody>
      </p:sp>
      <p:sp>
        <p:nvSpPr>
          <p:cNvPr id="10" name="矩形: 圓角 9">
            <a:extLst>
              <a:ext uri="{FF2B5EF4-FFF2-40B4-BE49-F238E27FC236}">
                <a16:creationId xmlns:a16="http://schemas.microsoft.com/office/drawing/2014/main" id="{8364E6ED-03E8-E969-5969-975E406BF444}"/>
              </a:ext>
            </a:extLst>
          </p:cNvPr>
          <p:cNvSpPr/>
          <p:nvPr/>
        </p:nvSpPr>
        <p:spPr bwMode="gray">
          <a:xfrm>
            <a:off x="6896735" y="3425482"/>
            <a:ext cx="2787650" cy="237908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為符合應注意事項第十三條，作業委託他人處理涉及使用雲端服務，如公司目前尚未有雲端相關管理規範，而需事先訂定雲端服務政策時，亦可參考此範本進行修改以適用公司需求。</a:t>
            </a:r>
          </a:p>
        </p:txBody>
      </p:sp>
      <p:cxnSp>
        <p:nvCxnSpPr>
          <p:cNvPr id="20" name="接點: 肘形 19">
            <a:extLst>
              <a:ext uri="{FF2B5EF4-FFF2-40B4-BE49-F238E27FC236}">
                <a16:creationId xmlns:a16="http://schemas.microsoft.com/office/drawing/2014/main" id="{D427E3A6-79C6-027C-664D-2E80F857742B}"/>
              </a:ext>
            </a:extLst>
          </p:cNvPr>
          <p:cNvCxnSpPr>
            <a:stCxn id="16" idx="2"/>
            <a:endCxn id="22" idx="0"/>
          </p:cNvCxnSpPr>
          <p:nvPr/>
        </p:nvCxnSpPr>
        <p:spPr>
          <a:xfrm rot="16200000" flipH="1">
            <a:off x="6938360" y="1260406"/>
            <a:ext cx="662240" cy="2042160"/>
          </a:xfrm>
          <a:prstGeom prst="bentConnector3">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0803574"/>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證券暨期貨業者作業委外處理宣導說明會</a:t>
            </a:r>
          </a:p>
        </p:txBody>
      </p:sp>
      <p:graphicFrame>
        <p:nvGraphicFramePr>
          <p:cNvPr id="4" name="表格 4">
            <a:extLst>
              <a:ext uri="{FF2B5EF4-FFF2-40B4-BE49-F238E27FC236}">
                <a16:creationId xmlns:a16="http://schemas.microsoft.com/office/drawing/2014/main" id="{59EDB51E-8219-941E-093B-51EBEE1EA0B5}"/>
              </a:ext>
            </a:extLst>
          </p:cNvPr>
          <p:cNvGraphicFramePr>
            <a:graphicFrameLocks noGrp="1"/>
          </p:cNvGraphicFramePr>
          <p:nvPr>
            <p:extLst>
              <p:ext uri="{D42A27DB-BD31-4B8C-83A1-F6EECF244321}">
                <p14:modId xmlns:p14="http://schemas.microsoft.com/office/powerpoint/2010/main" val="1509945350"/>
              </p:ext>
            </p:extLst>
          </p:nvPr>
        </p:nvGraphicFramePr>
        <p:xfrm>
          <a:off x="469901" y="1811320"/>
          <a:ext cx="11194017" cy="2884770"/>
        </p:xfrm>
        <a:graphic>
          <a:graphicData uri="http://schemas.openxmlformats.org/drawingml/2006/table">
            <a:tbl>
              <a:tblPr firstRow="1" bandRow="1">
                <a:tableStyleId>{5C22544A-7EE6-4342-B048-85BDC9FD1C3A}</a:tableStyleId>
              </a:tblPr>
              <a:tblGrid>
                <a:gridCol w="1099520">
                  <a:extLst>
                    <a:ext uri="{9D8B030D-6E8A-4147-A177-3AD203B41FA5}">
                      <a16:colId xmlns:a16="http://schemas.microsoft.com/office/drawing/2014/main" val="551027042"/>
                    </a:ext>
                  </a:extLst>
                </a:gridCol>
                <a:gridCol w="2079596">
                  <a:extLst>
                    <a:ext uri="{9D8B030D-6E8A-4147-A177-3AD203B41FA5}">
                      <a16:colId xmlns:a16="http://schemas.microsoft.com/office/drawing/2014/main" val="1840898053"/>
                    </a:ext>
                  </a:extLst>
                </a:gridCol>
                <a:gridCol w="2603239">
                  <a:extLst>
                    <a:ext uri="{9D8B030D-6E8A-4147-A177-3AD203B41FA5}">
                      <a16:colId xmlns:a16="http://schemas.microsoft.com/office/drawing/2014/main" val="1145995458"/>
                    </a:ext>
                  </a:extLst>
                </a:gridCol>
                <a:gridCol w="2705831">
                  <a:extLst>
                    <a:ext uri="{9D8B030D-6E8A-4147-A177-3AD203B41FA5}">
                      <a16:colId xmlns:a16="http://schemas.microsoft.com/office/drawing/2014/main" val="4213801229"/>
                    </a:ext>
                  </a:extLst>
                </a:gridCol>
                <a:gridCol w="2705831">
                  <a:extLst>
                    <a:ext uri="{9D8B030D-6E8A-4147-A177-3AD203B41FA5}">
                      <a16:colId xmlns:a16="http://schemas.microsoft.com/office/drawing/2014/main" val="2418946279"/>
                    </a:ext>
                  </a:extLst>
                </a:gridCol>
              </a:tblGrid>
              <a:tr h="576954">
                <a:tc>
                  <a:txBody>
                    <a:bodyPr/>
                    <a:lstStyle/>
                    <a:p>
                      <a:pPr algn="ctr"/>
                      <a:r>
                        <a:rPr lang="zh-TW" altLang="en-US" sz="2000" dirty="0">
                          <a:solidFill>
                            <a:schemeClr val="bg1"/>
                          </a:solidFill>
                        </a:rPr>
                        <a:t>場次</a:t>
                      </a:r>
                    </a:p>
                  </a:txBody>
                  <a:tcPr anchor="ctr"/>
                </a:tc>
                <a:tc>
                  <a:txBody>
                    <a:bodyPr/>
                    <a:lstStyle/>
                    <a:p>
                      <a:pPr marL="208915" marR="199390" algn="ctr">
                        <a:lnSpc>
                          <a:spcPts val="2400"/>
                        </a:lnSpc>
                        <a:spcBef>
                          <a:spcPts val="360"/>
                        </a:spcBef>
                        <a:spcAft>
                          <a:spcPts val="0"/>
                        </a:spcAft>
                      </a:pPr>
                      <a:r>
                        <a:rPr lang="en-US" sz="2000" b="1" dirty="0" err="1">
                          <a:solidFill>
                            <a:schemeClr val="bg1"/>
                          </a:solidFill>
                          <a:effectLst/>
                          <a:latin typeface="+mj-ea"/>
                          <a:ea typeface="+mj-ea"/>
                          <a:cs typeface="新細明體" panose="02020500000000000000" pitchFamily="18" charset="-120"/>
                        </a:rPr>
                        <a:t>辦理時程</a:t>
                      </a:r>
                      <a:endParaRPr lang="zh-TW" sz="2000" dirty="0">
                        <a:solidFill>
                          <a:schemeClr val="bg1"/>
                        </a:solidFill>
                        <a:effectLst/>
                        <a:latin typeface="+mj-ea"/>
                        <a:ea typeface="+mj-ea"/>
                        <a:cs typeface="新細明體" panose="02020500000000000000" pitchFamily="18" charset="-120"/>
                      </a:endParaRPr>
                    </a:p>
                  </a:txBody>
                  <a:tcPr marL="0" marR="0" marT="0" marB="0" anchor="ctr"/>
                </a:tc>
                <a:tc>
                  <a:txBody>
                    <a:bodyPr/>
                    <a:lstStyle/>
                    <a:p>
                      <a:pPr marL="137795" marR="128905" algn="ctr">
                        <a:lnSpc>
                          <a:spcPts val="2400"/>
                        </a:lnSpc>
                        <a:spcBef>
                          <a:spcPts val="360"/>
                        </a:spcBef>
                        <a:spcAft>
                          <a:spcPts val="0"/>
                        </a:spcAft>
                      </a:pPr>
                      <a:r>
                        <a:rPr lang="en-US" sz="2000" b="1" dirty="0" err="1">
                          <a:solidFill>
                            <a:schemeClr val="bg1"/>
                          </a:solidFill>
                          <a:effectLst/>
                          <a:latin typeface="+mj-ea"/>
                          <a:ea typeface="+mj-ea"/>
                          <a:cs typeface="新細明體" panose="02020500000000000000" pitchFamily="18" charset="-120"/>
                        </a:rPr>
                        <a:t>活動時間</a:t>
                      </a:r>
                      <a:endParaRPr lang="zh-TW" sz="2000" dirty="0">
                        <a:solidFill>
                          <a:schemeClr val="bg1"/>
                        </a:solidFill>
                        <a:effectLst/>
                        <a:latin typeface="+mj-ea"/>
                        <a:ea typeface="+mj-ea"/>
                        <a:cs typeface="新細明體" panose="02020500000000000000" pitchFamily="18" charset="-120"/>
                      </a:endParaRPr>
                    </a:p>
                  </a:txBody>
                  <a:tcPr marL="0" marR="0" marT="0" marB="0" anchor="ctr"/>
                </a:tc>
                <a:tc>
                  <a:txBody>
                    <a:bodyPr/>
                    <a:lstStyle/>
                    <a:p>
                      <a:pPr marL="67945" algn="ctr">
                        <a:spcBef>
                          <a:spcPts val="440"/>
                        </a:spcBef>
                      </a:pPr>
                      <a:r>
                        <a:rPr lang="en-US" sz="2000" b="1" dirty="0" err="1">
                          <a:solidFill>
                            <a:schemeClr val="bg1"/>
                          </a:solidFill>
                          <a:effectLst/>
                          <a:latin typeface="+mj-ea"/>
                          <a:ea typeface="+mj-ea"/>
                          <a:cs typeface="新細明體" panose="02020500000000000000" pitchFamily="18" charset="-120"/>
                        </a:rPr>
                        <a:t>參與對象</a:t>
                      </a:r>
                      <a:endParaRPr lang="zh-TW" sz="2000" dirty="0">
                        <a:solidFill>
                          <a:schemeClr val="bg1"/>
                        </a:solidFill>
                        <a:effectLst/>
                        <a:latin typeface="+mj-ea"/>
                        <a:ea typeface="+mj-ea"/>
                        <a:cs typeface="新細明體" panose="02020500000000000000" pitchFamily="18" charset="-120"/>
                      </a:endParaRPr>
                    </a:p>
                  </a:txBody>
                  <a:tcPr marL="0" marR="0" marT="0" marB="0" anchor="ctr"/>
                </a:tc>
                <a:tc>
                  <a:txBody>
                    <a:bodyPr/>
                    <a:lstStyle/>
                    <a:p>
                      <a:pPr marL="166370" marR="153670" algn="ctr">
                        <a:lnSpc>
                          <a:spcPts val="2400"/>
                        </a:lnSpc>
                        <a:spcBef>
                          <a:spcPts val="360"/>
                        </a:spcBef>
                        <a:spcAft>
                          <a:spcPts val="0"/>
                        </a:spcAft>
                      </a:pPr>
                      <a:r>
                        <a:rPr lang="en-US" sz="2000" b="1" dirty="0" err="1">
                          <a:solidFill>
                            <a:schemeClr val="bg1"/>
                          </a:solidFill>
                          <a:effectLst/>
                          <a:latin typeface="+mj-ea"/>
                          <a:ea typeface="+mj-ea"/>
                          <a:cs typeface="新細明體" panose="02020500000000000000" pitchFamily="18" charset="-120"/>
                        </a:rPr>
                        <a:t>進行方式</a:t>
                      </a:r>
                      <a:endParaRPr lang="zh-TW" sz="2000" dirty="0">
                        <a:solidFill>
                          <a:schemeClr val="bg1"/>
                        </a:solidFill>
                        <a:effectLst/>
                        <a:latin typeface="+mj-ea"/>
                        <a:ea typeface="+mj-ea"/>
                        <a:cs typeface="新細明體" panose="02020500000000000000" pitchFamily="18" charset="-120"/>
                      </a:endParaRPr>
                    </a:p>
                  </a:txBody>
                  <a:tcPr marL="0" marR="0" marT="0" marB="0" anchor="ctr"/>
                </a:tc>
                <a:extLst>
                  <a:ext uri="{0D108BD9-81ED-4DB2-BD59-A6C34878D82A}">
                    <a16:rowId xmlns:a16="http://schemas.microsoft.com/office/drawing/2014/main" val="845009506"/>
                  </a:ext>
                </a:extLst>
              </a:tr>
              <a:tr h="576954">
                <a:tc>
                  <a:txBody>
                    <a:bodyPr/>
                    <a:lstStyle/>
                    <a:p>
                      <a:pPr algn="ctr"/>
                      <a:r>
                        <a:rPr lang="zh-TW" altLang="en-US" b="1" dirty="0"/>
                        <a:t>一</a:t>
                      </a:r>
                    </a:p>
                  </a:txBody>
                  <a:tcPr anchor="ctr"/>
                </a:tc>
                <a:tc>
                  <a:txBody>
                    <a:bodyPr/>
                    <a:lstStyle/>
                    <a:p>
                      <a:pPr marL="68580" algn="ctr">
                        <a:spcBef>
                          <a:spcPts val="440"/>
                        </a:spcBef>
                        <a:spcAft>
                          <a:spcPts val="0"/>
                        </a:spcAft>
                      </a:pPr>
                      <a:r>
                        <a:rPr lang="en-US" sz="2000" b="1">
                          <a:effectLst/>
                          <a:latin typeface="+mj-ea"/>
                          <a:ea typeface="+mj-ea"/>
                          <a:cs typeface="新細明體" panose="02020500000000000000" pitchFamily="18" charset="-120"/>
                        </a:rPr>
                        <a:t>4/23 (二)</a:t>
                      </a:r>
                      <a:endParaRPr lang="zh-TW" sz="2000" b="1">
                        <a:effectLst/>
                        <a:latin typeface="+mj-ea"/>
                        <a:ea typeface="+mj-ea"/>
                        <a:cs typeface="新細明體" panose="02020500000000000000" pitchFamily="18" charset="-120"/>
                      </a:endParaRPr>
                    </a:p>
                  </a:txBody>
                  <a:tcPr marL="0" marR="0" marT="0" marB="0" anchor="ctr"/>
                </a:tc>
                <a:tc>
                  <a:txBody>
                    <a:bodyPr/>
                    <a:lstStyle/>
                    <a:p>
                      <a:pPr marL="69215">
                        <a:spcBef>
                          <a:spcPts val="535"/>
                        </a:spcBef>
                        <a:spcAft>
                          <a:spcPts val="0"/>
                        </a:spcAft>
                      </a:pPr>
                      <a:r>
                        <a:rPr lang="en-US" sz="2000" b="1" dirty="0">
                          <a:effectLst/>
                          <a:latin typeface="+mj-ea"/>
                          <a:ea typeface="+mj-ea"/>
                          <a:cs typeface="新細明體" panose="02020500000000000000" pitchFamily="18" charset="-120"/>
                        </a:rPr>
                        <a:t>14:00-17:00</a:t>
                      </a:r>
                      <a:endParaRPr lang="zh-TW" sz="2000" b="1" dirty="0">
                        <a:effectLst/>
                        <a:latin typeface="+mj-ea"/>
                        <a:ea typeface="+mj-ea"/>
                        <a:cs typeface="新細明體" panose="02020500000000000000" pitchFamily="18" charset="-120"/>
                      </a:endParaRPr>
                    </a:p>
                  </a:txBody>
                  <a:tcPr marL="0" marR="0" marT="0" marB="0" anchor="ctr"/>
                </a:tc>
                <a:tc rowSpan="4">
                  <a:txBody>
                    <a:bodyPr/>
                    <a:lstStyle/>
                    <a:p>
                      <a:pPr marL="69850" marR="74295" algn="ctr">
                        <a:lnSpc>
                          <a:spcPts val="2400"/>
                        </a:lnSpc>
                        <a:spcBef>
                          <a:spcPts val="360"/>
                        </a:spcBef>
                        <a:spcAft>
                          <a:spcPts val="0"/>
                        </a:spcAft>
                      </a:pPr>
                      <a:r>
                        <a:rPr lang="en-US" sz="2000" b="1" dirty="0" err="1">
                          <a:solidFill>
                            <a:srgbClr val="000000"/>
                          </a:solidFill>
                          <a:effectLst/>
                          <a:latin typeface="+mj-ea"/>
                          <a:ea typeface="+mj-ea"/>
                          <a:cs typeface="新細明體" panose="02020500000000000000" pitchFamily="18" charset="-120"/>
                        </a:rPr>
                        <a:t>證券暨期貨業者</a:t>
                      </a:r>
                      <a:endParaRPr lang="zh-TW" sz="2000" b="1" dirty="0">
                        <a:effectLst/>
                        <a:latin typeface="+mj-ea"/>
                        <a:ea typeface="+mj-ea"/>
                        <a:cs typeface="新細明體" panose="02020500000000000000" pitchFamily="18" charset="-120"/>
                      </a:endParaRPr>
                    </a:p>
                    <a:p>
                      <a:pPr marL="69850" marR="74295" algn="ctr">
                        <a:lnSpc>
                          <a:spcPts val="2400"/>
                        </a:lnSpc>
                        <a:spcBef>
                          <a:spcPts val="360"/>
                        </a:spcBef>
                        <a:spcAft>
                          <a:spcPts val="0"/>
                        </a:spcAft>
                      </a:pPr>
                      <a:r>
                        <a:rPr lang="en-US" sz="2000" b="1" dirty="0">
                          <a:solidFill>
                            <a:srgbClr val="000000"/>
                          </a:solidFill>
                          <a:effectLst/>
                          <a:latin typeface="+mj-ea"/>
                          <a:ea typeface="+mj-ea"/>
                          <a:cs typeface="新細明體" panose="02020500000000000000" pitchFamily="18" charset="-120"/>
                        </a:rPr>
                        <a:t> </a:t>
                      </a:r>
                      <a:endParaRPr lang="zh-TW" sz="2000" b="1" dirty="0">
                        <a:effectLst/>
                        <a:latin typeface="+mj-ea"/>
                        <a:ea typeface="+mj-ea"/>
                        <a:cs typeface="新細明體" panose="02020500000000000000" pitchFamily="18" charset="-120"/>
                      </a:endParaRPr>
                    </a:p>
                  </a:txBody>
                  <a:tcPr marL="0" marR="0" marT="0" marB="0" anchor="ctr"/>
                </a:tc>
                <a:tc rowSpan="4">
                  <a:txBody>
                    <a:bodyPr/>
                    <a:lstStyle/>
                    <a:p>
                      <a:pPr marL="70485" algn="ctr">
                        <a:spcBef>
                          <a:spcPts val="440"/>
                        </a:spcBef>
                        <a:spcAft>
                          <a:spcPts val="0"/>
                        </a:spcAft>
                      </a:pPr>
                      <a:r>
                        <a:rPr lang="en-US" sz="2000" b="1" dirty="0" err="1">
                          <a:effectLst/>
                          <a:latin typeface="+mj-ea"/>
                          <a:ea typeface="+mj-ea"/>
                          <a:cs typeface="新細明體" panose="02020500000000000000" pitchFamily="18" charset="-120"/>
                        </a:rPr>
                        <a:t>Webex視訊會議</a:t>
                      </a:r>
                      <a:endParaRPr lang="zh-TW" sz="2000" b="1" dirty="0">
                        <a:effectLst/>
                        <a:latin typeface="+mj-ea"/>
                        <a:ea typeface="+mj-ea"/>
                        <a:cs typeface="新細明體" panose="02020500000000000000" pitchFamily="18" charset="-120"/>
                      </a:endParaRPr>
                    </a:p>
                    <a:p>
                      <a:pPr marL="67945">
                        <a:spcBef>
                          <a:spcPts val="440"/>
                        </a:spcBef>
                      </a:pPr>
                      <a:r>
                        <a:rPr lang="en-US" sz="2000" b="1" dirty="0">
                          <a:effectLst/>
                          <a:latin typeface="+mj-ea"/>
                          <a:ea typeface="+mj-ea"/>
                          <a:cs typeface="新細明體" panose="02020500000000000000" pitchFamily="18" charset="-120"/>
                        </a:rPr>
                        <a:t> </a:t>
                      </a:r>
                      <a:endParaRPr lang="zh-TW" sz="2000" b="1" dirty="0">
                        <a:effectLst/>
                        <a:latin typeface="+mj-ea"/>
                        <a:ea typeface="+mj-ea"/>
                        <a:cs typeface="新細明體" panose="02020500000000000000" pitchFamily="18" charset="-120"/>
                      </a:endParaRPr>
                    </a:p>
                  </a:txBody>
                  <a:tcPr marL="0" marR="0" marT="0" marB="0" anchor="ctr"/>
                </a:tc>
                <a:extLst>
                  <a:ext uri="{0D108BD9-81ED-4DB2-BD59-A6C34878D82A}">
                    <a16:rowId xmlns:a16="http://schemas.microsoft.com/office/drawing/2014/main" val="950517697"/>
                  </a:ext>
                </a:extLst>
              </a:tr>
              <a:tr h="576954">
                <a:tc>
                  <a:txBody>
                    <a:bodyPr/>
                    <a:lstStyle/>
                    <a:p>
                      <a:pPr algn="ctr"/>
                      <a:r>
                        <a:rPr lang="zh-TW" altLang="en-US" b="1" dirty="0"/>
                        <a:t>二</a:t>
                      </a:r>
                    </a:p>
                  </a:txBody>
                  <a:tcPr anchor="ctr"/>
                </a:tc>
                <a:tc>
                  <a:txBody>
                    <a:bodyPr/>
                    <a:lstStyle/>
                    <a:p>
                      <a:pPr marL="68580" algn="ctr">
                        <a:spcBef>
                          <a:spcPts val="440"/>
                        </a:spcBef>
                        <a:spcAft>
                          <a:spcPts val="0"/>
                        </a:spcAft>
                      </a:pPr>
                      <a:r>
                        <a:rPr lang="en-US" sz="2000" b="1" dirty="0">
                          <a:effectLst/>
                          <a:latin typeface="+mj-ea"/>
                          <a:ea typeface="+mj-ea"/>
                          <a:cs typeface="新細明體" panose="02020500000000000000" pitchFamily="18" charset="-120"/>
                        </a:rPr>
                        <a:t>5/15(三)</a:t>
                      </a:r>
                      <a:endParaRPr lang="zh-TW" sz="2000" b="1" dirty="0">
                        <a:effectLst/>
                        <a:latin typeface="+mj-ea"/>
                        <a:ea typeface="+mj-ea"/>
                        <a:cs typeface="新細明體" panose="02020500000000000000" pitchFamily="18" charset="-120"/>
                      </a:endParaRPr>
                    </a:p>
                  </a:txBody>
                  <a:tcPr marL="0" marR="0" marT="0" marB="0" anchor="ctr"/>
                </a:tc>
                <a:tc>
                  <a:txBody>
                    <a:bodyPr/>
                    <a:lstStyle/>
                    <a:p>
                      <a:pPr marL="69215">
                        <a:spcBef>
                          <a:spcPts val="535"/>
                        </a:spcBef>
                        <a:spcAft>
                          <a:spcPts val="0"/>
                        </a:spcAft>
                      </a:pPr>
                      <a:r>
                        <a:rPr lang="en-US" sz="2000" b="1" dirty="0">
                          <a:effectLst/>
                          <a:latin typeface="+mj-ea"/>
                          <a:ea typeface="+mj-ea"/>
                          <a:cs typeface="新細明體" panose="02020500000000000000" pitchFamily="18" charset="-120"/>
                        </a:rPr>
                        <a:t>14:00-17:00</a:t>
                      </a:r>
                      <a:endParaRPr lang="zh-TW" sz="2000" b="1" dirty="0">
                        <a:effectLst/>
                        <a:latin typeface="+mj-ea"/>
                        <a:ea typeface="+mj-ea"/>
                        <a:cs typeface="新細明體" panose="02020500000000000000" pitchFamily="18" charset="-120"/>
                      </a:endParaRPr>
                    </a:p>
                  </a:txBody>
                  <a:tcPr marL="0" marR="0" marT="0" marB="0" anchor="ctr"/>
                </a:tc>
                <a:tc vMerge="1">
                  <a:txBody>
                    <a:bodyPr/>
                    <a:lstStyle/>
                    <a:p>
                      <a:endParaRPr lang="zh-TW" altLang="en-US"/>
                    </a:p>
                  </a:txBody>
                  <a:tcPr/>
                </a:tc>
                <a:tc vMerge="1">
                  <a:txBody>
                    <a:bodyPr/>
                    <a:lstStyle/>
                    <a:p>
                      <a:endParaRPr lang="zh-TW" altLang="en-US"/>
                    </a:p>
                  </a:txBody>
                  <a:tcPr/>
                </a:tc>
                <a:extLst>
                  <a:ext uri="{0D108BD9-81ED-4DB2-BD59-A6C34878D82A}">
                    <a16:rowId xmlns:a16="http://schemas.microsoft.com/office/drawing/2014/main" val="4034215745"/>
                  </a:ext>
                </a:extLst>
              </a:tr>
              <a:tr h="576954">
                <a:tc>
                  <a:txBody>
                    <a:bodyPr/>
                    <a:lstStyle/>
                    <a:p>
                      <a:pPr algn="ctr"/>
                      <a:r>
                        <a:rPr lang="zh-TW" altLang="en-US" b="1" dirty="0"/>
                        <a:t>三</a:t>
                      </a:r>
                    </a:p>
                  </a:txBody>
                  <a:tcPr anchor="ctr"/>
                </a:tc>
                <a:tc>
                  <a:txBody>
                    <a:bodyPr/>
                    <a:lstStyle/>
                    <a:p>
                      <a:pPr marL="68580" algn="ctr">
                        <a:spcBef>
                          <a:spcPts val="440"/>
                        </a:spcBef>
                        <a:spcAft>
                          <a:spcPts val="0"/>
                        </a:spcAft>
                      </a:pPr>
                      <a:r>
                        <a:rPr lang="en-US" sz="2000" b="1" dirty="0">
                          <a:effectLst/>
                          <a:latin typeface="+mj-ea"/>
                          <a:ea typeface="+mj-ea"/>
                          <a:cs typeface="新細明體" panose="02020500000000000000" pitchFamily="18" charset="-120"/>
                        </a:rPr>
                        <a:t>5/29(三)</a:t>
                      </a:r>
                      <a:endParaRPr lang="zh-TW" sz="2000" b="1" dirty="0">
                        <a:effectLst/>
                        <a:latin typeface="+mj-ea"/>
                        <a:ea typeface="+mj-ea"/>
                        <a:cs typeface="新細明體" panose="02020500000000000000" pitchFamily="18" charset="-120"/>
                      </a:endParaRPr>
                    </a:p>
                  </a:txBody>
                  <a:tcPr marL="0" marR="0" marT="0" marB="0" anchor="ctr"/>
                </a:tc>
                <a:tc>
                  <a:txBody>
                    <a:bodyPr/>
                    <a:lstStyle/>
                    <a:p>
                      <a:pPr marL="67945">
                        <a:spcBef>
                          <a:spcPts val="535"/>
                        </a:spcBef>
                      </a:pPr>
                      <a:r>
                        <a:rPr lang="en-US" sz="2000" b="1" dirty="0">
                          <a:effectLst/>
                          <a:latin typeface="+mj-ea"/>
                          <a:ea typeface="+mj-ea"/>
                          <a:cs typeface="新細明體" panose="02020500000000000000" pitchFamily="18" charset="-120"/>
                        </a:rPr>
                        <a:t>14:00-17:00</a:t>
                      </a:r>
                      <a:endParaRPr lang="zh-TW" sz="2000" b="1" dirty="0">
                        <a:effectLst/>
                        <a:latin typeface="+mj-ea"/>
                        <a:ea typeface="+mj-ea"/>
                        <a:cs typeface="新細明體" panose="02020500000000000000" pitchFamily="18" charset="-120"/>
                      </a:endParaRPr>
                    </a:p>
                  </a:txBody>
                  <a:tcPr marL="0" marR="0" marT="0" marB="0" anchor="ctr"/>
                </a:tc>
                <a:tc vMerge="1">
                  <a:txBody>
                    <a:bodyPr/>
                    <a:lstStyle/>
                    <a:p>
                      <a:endParaRPr lang="zh-TW" altLang="en-US"/>
                    </a:p>
                  </a:txBody>
                  <a:tcPr/>
                </a:tc>
                <a:tc vMerge="1">
                  <a:txBody>
                    <a:bodyPr/>
                    <a:lstStyle/>
                    <a:p>
                      <a:endParaRPr lang="zh-TW" altLang="en-US"/>
                    </a:p>
                  </a:txBody>
                  <a:tcPr/>
                </a:tc>
                <a:extLst>
                  <a:ext uri="{0D108BD9-81ED-4DB2-BD59-A6C34878D82A}">
                    <a16:rowId xmlns:a16="http://schemas.microsoft.com/office/drawing/2014/main" val="2184881269"/>
                  </a:ext>
                </a:extLst>
              </a:tr>
              <a:tr h="576954">
                <a:tc>
                  <a:txBody>
                    <a:bodyPr/>
                    <a:lstStyle/>
                    <a:p>
                      <a:pPr algn="ctr"/>
                      <a:r>
                        <a:rPr lang="zh-TW" altLang="en-US" b="1" dirty="0"/>
                        <a:t>四</a:t>
                      </a:r>
                    </a:p>
                  </a:txBody>
                  <a:tcPr anchor="ctr"/>
                </a:tc>
                <a:tc>
                  <a:txBody>
                    <a:bodyPr/>
                    <a:lstStyle/>
                    <a:p>
                      <a:pPr marL="68580" algn="ctr">
                        <a:spcBef>
                          <a:spcPts val="440"/>
                        </a:spcBef>
                        <a:spcAft>
                          <a:spcPts val="0"/>
                        </a:spcAft>
                      </a:pPr>
                      <a:r>
                        <a:rPr lang="en-US" sz="2000" b="1" dirty="0">
                          <a:effectLst/>
                          <a:latin typeface="+mj-ea"/>
                          <a:ea typeface="+mj-ea"/>
                          <a:cs typeface="新細明體" panose="02020500000000000000" pitchFamily="18" charset="-120"/>
                        </a:rPr>
                        <a:t>6/12(三)</a:t>
                      </a:r>
                      <a:endParaRPr lang="zh-TW" sz="2000" b="1" dirty="0">
                        <a:effectLst/>
                        <a:latin typeface="+mj-ea"/>
                        <a:ea typeface="+mj-ea"/>
                        <a:cs typeface="新細明體" panose="02020500000000000000" pitchFamily="18" charset="-120"/>
                      </a:endParaRPr>
                    </a:p>
                  </a:txBody>
                  <a:tcPr marL="0" marR="0" marT="0" marB="0" anchor="ctr"/>
                </a:tc>
                <a:tc>
                  <a:txBody>
                    <a:bodyPr/>
                    <a:lstStyle/>
                    <a:p>
                      <a:pPr marL="67945">
                        <a:spcBef>
                          <a:spcPts val="535"/>
                        </a:spcBef>
                        <a:spcAft>
                          <a:spcPts val="0"/>
                        </a:spcAft>
                      </a:pPr>
                      <a:r>
                        <a:rPr lang="en-US" sz="2000" b="1" dirty="0">
                          <a:effectLst/>
                          <a:latin typeface="+mj-ea"/>
                          <a:ea typeface="+mj-ea"/>
                          <a:cs typeface="新細明體" panose="02020500000000000000" pitchFamily="18" charset="-120"/>
                        </a:rPr>
                        <a:t>14:00-17:00</a:t>
                      </a:r>
                      <a:endParaRPr lang="zh-TW" sz="2000" b="1" dirty="0">
                        <a:effectLst/>
                        <a:latin typeface="+mj-ea"/>
                        <a:ea typeface="+mj-ea"/>
                        <a:cs typeface="新細明體" panose="02020500000000000000" pitchFamily="18" charset="-120"/>
                      </a:endParaRPr>
                    </a:p>
                  </a:txBody>
                  <a:tcPr marL="0" marR="0" marT="0" marB="0" anchor="ctr"/>
                </a:tc>
                <a:tc vMerge="1">
                  <a:txBody>
                    <a:bodyPr/>
                    <a:lstStyle/>
                    <a:p>
                      <a:endParaRPr lang="zh-TW" altLang="en-US"/>
                    </a:p>
                  </a:txBody>
                  <a:tcPr/>
                </a:tc>
                <a:tc vMerge="1">
                  <a:txBody>
                    <a:bodyPr/>
                    <a:lstStyle/>
                    <a:p>
                      <a:endParaRPr lang="zh-TW" altLang="en-US"/>
                    </a:p>
                  </a:txBody>
                  <a:tcPr/>
                </a:tc>
                <a:extLst>
                  <a:ext uri="{0D108BD9-81ED-4DB2-BD59-A6C34878D82A}">
                    <a16:rowId xmlns:a16="http://schemas.microsoft.com/office/drawing/2014/main" val="535914372"/>
                  </a:ext>
                </a:extLst>
              </a:tr>
            </a:tbl>
          </a:graphicData>
        </a:graphic>
      </p:graphicFrame>
      <p:sp>
        <p:nvSpPr>
          <p:cNvPr id="5" name="文字方塊 4">
            <a:extLst>
              <a:ext uri="{FF2B5EF4-FFF2-40B4-BE49-F238E27FC236}">
                <a16:creationId xmlns:a16="http://schemas.microsoft.com/office/drawing/2014/main" id="{BF8B5CA1-1C66-DF41-1711-D3438C01B4BA}"/>
              </a:ext>
            </a:extLst>
          </p:cNvPr>
          <p:cNvSpPr txBox="1"/>
          <p:nvPr/>
        </p:nvSpPr>
        <p:spPr>
          <a:xfrm>
            <a:off x="469901" y="988828"/>
            <a:ext cx="11018311" cy="615553"/>
          </a:xfrm>
          <a:prstGeom prst="rect">
            <a:avLst/>
          </a:prstGeom>
          <a:noFill/>
        </p:spPr>
        <p:txBody>
          <a:bodyPr wrap="square" lIns="0" tIns="0" rIns="0" bIns="0" rtlCol="0">
            <a:spAutoFit/>
          </a:bodyPr>
          <a:lstStyle/>
          <a:p>
            <a:pPr>
              <a:spcBef>
                <a:spcPts val="600"/>
              </a:spcBef>
              <a:buSzPct val="100000"/>
            </a:pPr>
            <a:r>
              <a:rPr lang="zh-TW" altLang="en-US" sz="2000" dirty="0">
                <a:solidFill>
                  <a:schemeClr val="bg1"/>
                </a:solidFill>
              </a:rPr>
              <a:t>說明會中將詳細說明各範本使用方式與填寫示範案例，並提供業者提問討論時間，可先收集填寫時之問題，於說明會中提問。</a:t>
            </a:r>
          </a:p>
        </p:txBody>
      </p:sp>
    </p:spTree>
    <p:extLst>
      <p:ext uri="{BB962C8B-B14F-4D97-AF65-F5344CB8AC3E}">
        <p14:creationId xmlns:p14="http://schemas.microsoft.com/office/powerpoint/2010/main" val="3855394954"/>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a:extLst>
              <a:ext uri="{FF2B5EF4-FFF2-40B4-BE49-F238E27FC236}">
                <a16:creationId xmlns:a16="http://schemas.microsoft.com/office/drawing/2014/main" id="{4584B91B-292B-76D8-DB50-2C5A3276B111}"/>
              </a:ext>
            </a:extLst>
          </p:cNvPr>
          <p:cNvSpPr>
            <a:spLocks noGrp="1"/>
          </p:cNvSpPr>
          <p:nvPr>
            <p:ph type="title"/>
          </p:nvPr>
        </p:nvSpPr>
        <p:spPr/>
        <p:txBody>
          <a:bodyPr/>
          <a:lstStyle/>
          <a:p>
            <a:r>
              <a:rPr lang="zh-TW" altLang="en-US" dirty="0"/>
              <a:t>問題與討論</a:t>
            </a:r>
          </a:p>
        </p:txBody>
      </p:sp>
      <p:sp>
        <p:nvSpPr>
          <p:cNvPr id="3" name="文字版面配置區 2">
            <a:extLst>
              <a:ext uri="{FF2B5EF4-FFF2-40B4-BE49-F238E27FC236}">
                <a16:creationId xmlns:a16="http://schemas.microsoft.com/office/drawing/2014/main" id="{2E1A2367-0BF2-990A-4B19-15BABA97ACC2}"/>
              </a:ext>
            </a:extLst>
          </p:cNvPr>
          <p:cNvSpPr>
            <a:spLocks noGrp="1"/>
          </p:cNvSpPr>
          <p:nvPr>
            <p:ph type="body" idx="1"/>
          </p:nvPr>
        </p:nvSpPr>
        <p:spPr/>
        <p:txBody>
          <a:bodyPr/>
          <a:lstStyle/>
          <a:p>
            <a:endParaRPr lang="zh-TW" altLang="en-US"/>
          </a:p>
        </p:txBody>
      </p:sp>
    </p:spTree>
    <p:extLst>
      <p:ext uri="{BB962C8B-B14F-4D97-AF65-F5344CB8AC3E}">
        <p14:creationId xmlns:p14="http://schemas.microsoft.com/office/powerpoint/2010/main" val="301454441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2403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233077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a:extLst>
              <a:ext uri="{FF2B5EF4-FFF2-40B4-BE49-F238E27FC236}">
                <a16:creationId xmlns:a16="http://schemas.microsoft.com/office/drawing/2014/main" id="{5082B48D-CD84-E2D2-78F1-22D1867BC77B}"/>
              </a:ext>
            </a:extLst>
          </p:cNvPr>
          <p:cNvSpPr>
            <a:spLocks noGrp="1"/>
          </p:cNvSpPr>
          <p:nvPr>
            <p:ph type="title"/>
          </p:nvPr>
        </p:nvSpPr>
        <p:spPr/>
        <p:txBody>
          <a:bodyPr/>
          <a:lstStyle/>
          <a:p>
            <a:r>
              <a:rPr lang="zh-TW" altLang="en-US" dirty="0"/>
              <a:t>專案進度報告</a:t>
            </a:r>
          </a:p>
        </p:txBody>
      </p:sp>
      <p:sp>
        <p:nvSpPr>
          <p:cNvPr id="6" name="文字版面配置區 5">
            <a:extLst>
              <a:ext uri="{FF2B5EF4-FFF2-40B4-BE49-F238E27FC236}">
                <a16:creationId xmlns:a16="http://schemas.microsoft.com/office/drawing/2014/main" id="{367FF858-04EC-F5D5-04FA-017070543DD5}"/>
              </a:ext>
            </a:extLst>
          </p:cNvPr>
          <p:cNvSpPr>
            <a:spLocks noGrp="1"/>
          </p:cNvSpPr>
          <p:nvPr>
            <p:ph type="body" idx="1"/>
          </p:nvPr>
        </p:nvSpPr>
        <p:spPr/>
        <p:txBody>
          <a:bodyPr/>
          <a:lstStyle/>
          <a:p>
            <a:endParaRPr lang="zh-TW" altLang="en-US" dirty="0"/>
          </a:p>
        </p:txBody>
      </p:sp>
    </p:spTree>
    <p:extLst>
      <p:ext uri="{BB962C8B-B14F-4D97-AF65-F5344CB8AC3E}">
        <p14:creationId xmlns:p14="http://schemas.microsoft.com/office/powerpoint/2010/main" val="355988640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標題 2">
            <a:extLst>
              <a:ext uri="{FF2B5EF4-FFF2-40B4-BE49-F238E27FC236}">
                <a16:creationId xmlns:a16="http://schemas.microsoft.com/office/drawing/2014/main" id="{502F11B8-053E-C4C5-8D5F-CCE31BB4951B}"/>
              </a:ext>
            </a:extLst>
          </p:cNvPr>
          <p:cNvSpPr>
            <a:spLocks noGrp="1"/>
          </p:cNvSpPr>
          <p:nvPr>
            <p:ph type="title"/>
          </p:nvPr>
        </p:nvSpPr>
        <p:spPr>
          <a:xfrm>
            <a:off x="469901" y="402587"/>
            <a:ext cx="8242301" cy="379302"/>
          </a:xfrm>
        </p:spPr>
        <p:txBody>
          <a:bodyPr/>
          <a:lstStyle/>
          <a:p>
            <a:r>
              <a:rPr lang="zh-TW" altLang="en-US" b="1" dirty="0"/>
              <a:t>專案目標與關鍵工作項目</a:t>
            </a:r>
            <a:endParaRPr lang="zh-TW" altLang="en-US" dirty="0"/>
          </a:p>
        </p:txBody>
      </p:sp>
      <p:sp>
        <p:nvSpPr>
          <p:cNvPr id="8" name="矩形: 圓角 7">
            <a:extLst>
              <a:ext uri="{FF2B5EF4-FFF2-40B4-BE49-F238E27FC236}">
                <a16:creationId xmlns:a16="http://schemas.microsoft.com/office/drawing/2014/main" id="{A61FE37E-03D9-8DE9-C785-2D09EECF3ADC}"/>
              </a:ext>
            </a:extLst>
          </p:cNvPr>
          <p:cNvSpPr/>
          <p:nvPr/>
        </p:nvSpPr>
        <p:spPr bwMode="gray">
          <a:xfrm>
            <a:off x="1974849" y="1249974"/>
            <a:ext cx="8242301" cy="2647111"/>
          </a:xfrm>
          <a:prstGeom prst="roundRect">
            <a:avLst/>
          </a:prstGeom>
          <a:solidFill>
            <a:schemeClr val="accent3"/>
          </a:solidFill>
          <a:ln w="19050" algn="ctr">
            <a:noFill/>
            <a:miter lim="800000"/>
            <a:headEnd/>
            <a:tailEnd/>
          </a:ln>
        </p:spPr>
        <p:txBody>
          <a:bodyPr wrap="square" lIns="88900" tIns="88900" rIns="88900" bIns="88900" rtlCol="0" anchor="ctr"/>
          <a:lstStyle/>
          <a:p>
            <a:pPr>
              <a:spcBef>
                <a:spcPts val="600"/>
              </a:spcBef>
              <a:buSzPct val="100000"/>
            </a:pPr>
            <a:r>
              <a:rPr lang="zh-TW" altLang="en-US" dirty="0">
                <a:solidFill>
                  <a:schemeClr val="bg1"/>
                </a:solidFill>
              </a:rPr>
              <a:t>配合主管機關</a:t>
            </a:r>
            <a:r>
              <a:rPr lang="en-US" altLang="zh-TW" dirty="0">
                <a:solidFill>
                  <a:schemeClr val="bg1"/>
                </a:solidFill>
              </a:rPr>
              <a:t>112 </a:t>
            </a:r>
            <a:r>
              <a:rPr lang="zh-TW" altLang="en-US" dirty="0">
                <a:solidFill>
                  <a:schemeClr val="bg1"/>
                </a:solidFill>
              </a:rPr>
              <a:t>年</a:t>
            </a:r>
            <a:r>
              <a:rPr lang="en-US" altLang="zh-TW" dirty="0">
                <a:solidFill>
                  <a:schemeClr val="bg1"/>
                </a:solidFill>
              </a:rPr>
              <a:t>8 </a:t>
            </a:r>
            <a:r>
              <a:rPr lang="zh-TW" altLang="en-US" dirty="0">
                <a:solidFill>
                  <a:schemeClr val="bg1"/>
                </a:solidFill>
              </a:rPr>
              <a:t>月</a:t>
            </a:r>
            <a:r>
              <a:rPr lang="en-US" altLang="zh-TW" dirty="0">
                <a:solidFill>
                  <a:schemeClr val="bg1"/>
                </a:solidFill>
              </a:rPr>
              <a:t>31 </a:t>
            </a:r>
            <a:r>
              <a:rPr lang="zh-TW" altLang="en-US" dirty="0">
                <a:solidFill>
                  <a:schemeClr val="bg1"/>
                </a:solidFill>
              </a:rPr>
              <a:t>日發布「證券商作業委託他人處理應注意事項」、「期貨商作業委託他人處理應注意事項」及相關問答集，證券商及期貨商各項作業如委外辦理即適用前開規定，除並應訂定委外內部作業規範，並就委外事項之風險程度、重大性及對營運與客戶權益進行評估，依「風險基礎方法」採取適當之管控作業。</a:t>
            </a:r>
          </a:p>
        </p:txBody>
      </p:sp>
      <p:sp>
        <p:nvSpPr>
          <p:cNvPr id="9" name="矩形: 圓角 8">
            <a:extLst>
              <a:ext uri="{FF2B5EF4-FFF2-40B4-BE49-F238E27FC236}">
                <a16:creationId xmlns:a16="http://schemas.microsoft.com/office/drawing/2014/main" id="{ECA05D91-FE40-F152-6795-6DE3AB1618F1}"/>
              </a:ext>
            </a:extLst>
          </p:cNvPr>
          <p:cNvSpPr/>
          <p:nvPr/>
        </p:nvSpPr>
        <p:spPr bwMode="gray">
          <a:xfrm>
            <a:off x="5040086" y="692921"/>
            <a:ext cx="1730828" cy="463676"/>
          </a:xfrm>
          <a:prstGeom prst="roundRect">
            <a:avLst/>
          </a:prstGeom>
          <a:noFill/>
          <a:ln w="571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b="1" u="sng" dirty="0">
                <a:solidFill>
                  <a:schemeClr val="bg1"/>
                </a:solidFill>
              </a:rPr>
              <a:t>專案目標</a:t>
            </a:r>
          </a:p>
        </p:txBody>
      </p:sp>
      <p:sp>
        <p:nvSpPr>
          <p:cNvPr id="10" name="矩形: 圓角 9">
            <a:extLst>
              <a:ext uri="{FF2B5EF4-FFF2-40B4-BE49-F238E27FC236}">
                <a16:creationId xmlns:a16="http://schemas.microsoft.com/office/drawing/2014/main" id="{3A5537E3-770B-223B-36B3-702E6B344794}"/>
              </a:ext>
            </a:extLst>
          </p:cNvPr>
          <p:cNvSpPr/>
          <p:nvPr/>
        </p:nvSpPr>
        <p:spPr bwMode="gray">
          <a:xfrm>
            <a:off x="4879500" y="3995056"/>
            <a:ext cx="2052000" cy="463676"/>
          </a:xfrm>
          <a:prstGeom prst="roundRect">
            <a:avLst/>
          </a:prstGeom>
          <a:noFill/>
          <a:ln w="571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b="1" u="sng" dirty="0">
                <a:solidFill>
                  <a:schemeClr val="bg1"/>
                </a:solidFill>
              </a:rPr>
              <a:t>關鍵工作項目</a:t>
            </a:r>
          </a:p>
        </p:txBody>
      </p:sp>
      <p:sp>
        <p:nvSpPr>
          <p:cNvPr id="11" name="矩形: 圓角 10">
            <a:extLst>
              <a:ext uri="{FF2B5EF4-FFF2-40B4-BE49-F238E27FC236}">
                <a16:creationId xmlns:a16="http://schemas.microsoft.com/office/drawing/2014/main" id="{5F234D02-E349-9981-9EF8-12DBDE9DFDE3}"/>
              </a:ext>
            </a:extLst>
          </p:cNvPr>
          <p:cNvSpPr/>
          <p:nvPr/>
        </p:nvSpPr>
        <p:spPr bwMode="gray">
          <a:xfrm>
            <a:off x="358971" y="4561112"/>
            <a:ext cx="1764000" cy="1556657"/>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zh-TW" sz="1800" kern="1200">
                <a:solidFill>
                  <a:schemeClr val="bg1"/>
                </a:solidFill>
                <a:effectLst/>
                <a:latin typeface="微軟正黑體" panose="020B0604030504040204" pitchFamily="34" charset="-120"/>
                <a:ea typeface="微軟正黑體" panose="020B0604030504040204" pitchFamily="34" charset="-120"/>
                <a:cs typeface="Arial" panose="020B0604020202020204" pitchFamily="34" charset="0"/>
              </a:rPr>
              <a:t>委外內部作業參考規範</a:t>
            </a:r>
            <a:endParaRPr lang="zh-TW" altLang="en-US" sz="1600" b="1" dirty="0">
              <a:solidFill>
                <a:schemeClr val="bg1"/>
              </a:solidFill>
              <a:latin typeface="微軟正黑體" panose="020B0604030504040204" pitchFamily="34" charset="-120"/>
              <a:ea typeface="微軟正黑體" panose="020B0604030504040204" pitchFamily="34" charset="-120"/>
            </a:endParaRPr>
          </a:p>
        </p:txBody>
      </p:sp>
      <p:sp>
        <p:nvSpPr>
          <p:cNvPr id="12" name="矩形: 圓角 11">
            <a:extLst>
              <a:ext uri="{FF2B5EF4-FFF2-40B4-BE49-F238E27FC236}">
                <a16:creationId xmlns:a16="http://schemas.microsoft.com/office/drawing/2014/main" id="{2B1EAFA4-D1C7-270F-7E97-7E79D005D479}"/>
              </a:ext>
            </a:extLst>
          </p:cNvPr>
          <p:cNvSpPr/>
          <p:nvPr/>
        </p:nvSpPr>
        <p:spPr bwMode="gray">
          <a:xfrm>
            <a:off x="2253137" y="4561114"/>
            <a:ext cx="1764000" cy="1556657"/>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zh-TW" sz="1800" kern="1200" dirty="0">
                <a:solidFill>
                  <a:schemeClr val="bg1"/>
                </a:solidFill>
                <a:effectLst/>
                <a:latin typeface="微軟正黑體" panose="020B0604030504040204" pitchFamily="34" charset="-120"/>
                <a:ea typeface="微軟正黑體" panose="020B0604030504040204" pitchFamily="34" charset="-120"/>
                <a:cs typeface="Arial" panose="020B0604020202020204" pitchFamily="34" charset="0"/>
              </a:rPr>
              <a:t>風險基礎方法之委外管理</a:t>
            </a:r>
            <a:endParaRPr lang="en-US" altLang="zh-TW" sz="1800" kern="1200" dirty="0">
              <a:solidFill>
                <a:schemeClr val="bg1"/>
              </a:solidFill>
              <a:effectLst/>
              <a:latin typeface="微軟正黑體" panose="020B0604030504040204" pitchFamily="34" charset="-120"/>
              <a:ea typeface="微軟正黑體" panose="020B0604030504040204" pitchFamily="34" charset="-120"/>
              <a:cs typeface="Arial" panose="020B0604020202020204" pitchFamily="34" charset="0"/>
            </a:endParaRPr>
          </a:p>
          <a:p>
            <a:pPr algn="ctr">
              <a:lnSpc>
                <a:spcPct val="106000"/>
              </a:lnSpc>
              <a:buFont typeface="Wingdings 2" pitchFamily="18" charset="2"/>
              <a:buNone/>
            </a:pPr>
            <a:r>
              <a:rPr lang="zh-TW" altLang="zh-TW" sz="1800" kern="1200" dirty="0">
                <a:solidFill>
                  <a:schemeClr val="bg1"/>
                </a:solidFill>
                <a:effectLst/>
                <a:latin typeface="微軟正黑體" panose="020B0604030504040204" pitchFamily="34" charset="-120"/>
                <a:ea typeface="微軟正黑體" panose="020B0604030504040204" pitchFamily="34" charset="-120"/>
                <a:cs typeface="Arial" panose="020B0604020202020204" pitchFamily="34" charset="0"/>
              </a:rPr>
              <a:t>架構</a:t>
            </a:r>
            <a:endParaRPr lang="zh-TW" altLang="en-US" sz="1600" b="1" dirty="0">
              <a:solidFill>
                <a:schemeClr val="bg1"/>
              </a:solidFill>
              <a:latin typeface="微軟正黑體" panose="020B0604030504040204" pitchFamily="34" charset="-120"/>
              <a:ea typeface="微軟正黑體" panose="020B0604030504040204" pitchFamily="34" charset="-120"/>
            </a:endParaRPr>
          </a:p>
        </p:txBody>
      </p:sp>
      <p:sp>
        <p:nvSpPr>
          <p:cNvPr id="13" name="矩形: 圓角 12">
            <a:extLst>
              <a:ext uri="{FF2B5EF4-FFF2-40B4-BE49-F238E27FC236}">
                <a16:creationId xmlns:a16="http://schemas.microsoft.com/office/drawing/2014/main" id="{89428DC7-5ED9-9CD4-462C-E817DBDE1DD3}"/>
              </a:ext>
            </a:extLst>
          </p:cNvPr>
          <p:cNvSpPr/>
          <p:nvPr/>
        </p:nvSpPr>
        <p:spPr bwMode="gray">
          <a:xfrm>
            <a:off x="4147303" y="4561114"/>
            <a:ext cx="1764000" cy="1556657"/>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ts val="2500"/>
              </a:lnSpc>
            </a:pPr>
            <a:r>
              <a:rPr lang="zh-TW" altLang="zh-TW" sz="1800" kern="1200" dirty="0">
                <a:solidFill>
                  <a:schemeClr val="bg1"/>
                </a:solidFill>
                <a:effectLst/>
                <a:latin typeface="微軟正黑體" panose="020B0604030504040204" pitchFamily="34" charset="-120"/>
                <a:ea typeface="微軟正黑體" panose="020B0604030504040204" pitchFamily="34" charset="-120"/>
                <a:cs typeface="Arial" panose="020B0604020202020204" pitchFamily="34" charset="0"/>
              </a:rPr>
              <a:t>委外契約</a:t>
            </a:r>
            <a:endParaRPr lang="zh-TW" altLang="en-US" sz="1600" b="1" dirty="0">
              <a:solidFill>
                <a:schemeClr val="bg1"/>
              </a:solidFill>
              <a:latin typeface="微軟正黑體" panose="020B0604030504040204" pitchFamily="34" charset="-120"/>
              <a:ea typeface="微軟正黑體" panose="020B0604030504040204" pitchFamily="34" charset="-120"/>
            </a:endParaRPr>
          </a:p>
        </p:txBody>
      </p:sp>
      <p:sp>
        <p:nvSpPr>
          <p:cNvPr id="14" name="矩形: 圓角 13">
            <a:extLst>
              <a:ext uri="{FF2B5EF4-FFF2-40B4-BE49-F238E27FC236}">
                <a16:creationId xmlns:a16="http://schemas.microsoft.com/office/drawing/2014/main" id="{8DAFC6F8-126C-D8E4-02A8-3E2922C63ABB}"/>
              </a:ext>
            </a:extLst>
          </p:cNvPr>
          <p:cNvSpPr/>
          <p:nvPr/>
        </p:nvSpPr>
        <p:spPr bwMode="gray">
          <a:xfrm>
            <a:off x="6041469" y="4561113"/>
            <a:ext cx="1764000" cy="1556657"/>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zh-TW" sz="1800" kern="1200">
                <a:solidFill>
                  <a:schemeClr val="bg1"/>
                </a:solidFill>
                <a:effectLst/>
                <a:latin typeface="微軟正黑體" panose="020B0604030504040204" pitchFamily="34" charset="-120"/>
                <a:ea typeface="微軟正黑體" panose="020B0604030504040204" pitchFamily="34" charset="-120"/>
                <a:cs typeface="Arial" panose="020B0604020202020204" pitchFamily="34" charset="0"/>
              </a:rPr>
              <a:t>必要性及適法性分析書件</a:t>
            </a:r>
            <a:endParaRPr lang="zh-TW" altLang="en-US" sz="1600" b="1" dirty="0">
              <a:solidFill>
                <a:schemeClr val="bg1"/>
              </a:solidFill>
              <a:latin typeface="微軟正黑體" panose="020B0604030504040204" pitchFamily="34" charset="-120"/>
              <a:ea typeface="微軟正黑體" panose="020B0604030504040204" pitchFamily="34" charset="-120"/>
            </a:endParaRPr>
          </a:p>
        </p:txBody>
      </p:sp>
      <p:sp>
        <p:nvSpPr>
          <p:cNvPr id="15" name="矩形: 圓角 14">
            <a:extLst>
              <a:ext uri="{FF2B5EF4-FFF2-40B4-BE49-F238E27FC236}">
                <a16:creationId xmlns:a16="http://schemas.microsoft.com/office/drawing/2014/main" id="{90B8E891-84B5-93B4-2CED-44943EE1BA85}"/>
              </a:ext>
            </a:extLst>
          </p:cNvPr>
          <p:cNvSpPr/>
          <p:nvPr/>
        </p:nvSpPr>
        <p:spPr bwMode="gray">
          <a:xfrm>
            <a:off x="7935635" y="4561113"/>
            <a:ext cx="1764000" cy="1556657"/>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zh-TW" sz="1800" kern="1200" dirty="0">
                <a:solidFill>
                  <a:schemeClr val="bg1"/>
                </a:solidFill>
                <a:effectLst/>
                <a:latin typeface="微軟正黑體" panose="020B0604030504040204" pitchFamily="34" charset="-120"/>
                <a:ea typeface="微軟正黑體" panose="020B0604030504040204" pitchFamily="34" charset="-120"/>
                <a:cs typeface="Arial" panose="020B0604020202020204" pitchFamily="34" charset="0"/>
              </a:rPr>
              <a:t>作業委外</a:t>
            </a:r>
            <a:endParaRPr lang="en-US" altLang="zh-TW" sz="1800" kern="1200" dirty="0">
              <a:solidFill>
                <a:schemeClr val="bg1"/>
              </a:solidFill>
              <a:effectLst/>
              <a:latin typeface="微軟正黑體" panose="020B0604030504040204" pitchFamily="34" charset="-120"/>
              <a:ea typeface="微軟正黑體" panose="020B0604030504040204" pitchFamily="34" charset="-120"/>
              <a:cs typeface="Arial" panose="020B0604020202020204" pitchFamily="34" charset="0"/>
            </a:endParaRPr>
          </a:p>
          <a:p>
            <a:pPr algn="ctr">
              <a:lnSpc>
                <a:spcPct val="106000"/>
              </a:lnSpc>
              <a:buFont typeface="Wingdings 2" pitchFamily="18" charset="2"/>
              <a:buNone/>
            </a:pPr>
            <a:r>
              <a:rPr lang="zh-TW" altLang="zh-TW" sz="1800" kern="1200" dirty="0">
                <a:solidFill>
                  <a:schemeClr val="bg1"/>
                </a:solidFill>
                <a:effectLst/>
                <a:latin typeface="微軟正黑體" panose="020B0604030504040204" pitchFamily="34" charset="-120"/>
                <a:ea typeface="微軟正黑體" panose="020B0604030504040204" pitchFamily="34" charset="-120"/>
                <a:cs typeface="Arial" panose="020B0604020202020204" pitchFamily="34" charset="0"/>
              </a:rPr>
              <a:t>計劃書</a:t>
            </a:r>
            <a:endParaRPr lang="zh-TW" altLang="en-US" sz="1600" b="1" dirty="0">
              <a:solidFill>
                <a:schemeClr val="bg1"/>
              </a:solidFill>
              <a:latin typeface="微軟正黑體" panose="020B0604030504040204" pitchFamily="34" charset="-120"/>
              <a:ea typeface="微軟正黑體" panose="020B0604030504040204" pitchFamily="34" charset="-120"/>
            </a:endParaRPr>
          </a:p>
        </p:txBody>
      </p:sp>
      <p:sp>
        <p:nvSpPr>
          <p:cNvPr id="16" name="矩形: 圓角 15">
            <a:extLst>
              <a:ext uri="{FF2B5EF4-FFF2-40B4-BE49-F238E27FC236}">
                <a16:creationId xmlns:a16="http://schemas.microsoft.com/office/drawing/2014/main" id="{46B886E5-A7BD-7E0B-4BDD-E8C0407E70D3}"/>
              </a:ext>
            </a:extLst>
          </p:cNvPr>
          <p:cNvSpPr/>
          <p:nvPr/>
        </p:nvSpPr>
        <p:spPr bwMode="gray">
          <a:xfrm>
            <a:off x="9829800" y="4561112"/>
            <a:ext cx="1764000" cy="1556657"/>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ts val="2500"/>
              </a:lnSpc>
            </a:pPr>
            <a:r>
              <a:rPr lang="zh-TW" altLang="zh-TW" sz="1800" kern="1200" dirty="0">
                <a:solidFill>
                  <a:schemeClr val="bg1"/>
                </a:solidFill>
                <a:effectLst/>
                <a:latin typeface="微軟正黑體" panose="020B0604030504040204" pitchFamily="34" charset="-120"/>
                <a:ea typeface="微軟正黑體" panose="020B0604030504040204" pitchFamily="34" charset="-120"/>
                <a:cs typeface="Arial" panose="020B0604020202020204" pitchFamily="34" charset="0"/>
              </a:rPr>
              <a:t>雲端政策</a:t>
            </a:r>
            <a:endParaRPr lang="zh-TW" altLang="en-US" sz="1600" b="1" dirty="0">
              <a:solidFill>
                <a:schemeClr val="bg1"/>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42942947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p:txBody>
          <a:bodyPr/>
          <a:lstStyle/>
          <a:p>
            <a:r>
              <a:rPr lang="zh-TW" altLang="en-US" b="1" dirty="0"/>
              <a:t>專案流程</a:t>
            </a:r>
          </a:p>
        </p:txBody>
      </p:sp>
      <p:sp>
        <p:nvSpPr>
          <p:cNvPr id="2" name="文字版面配置區 1">
            <a:extLst>
              <a:ext uri="{FF2B5EF4-FFF2-40B4-BE49-F238E27FC236}">
                <a16:creationId xmlns:a16="http://schemas.microsoft.com/office/drawing/2014/main" id="{E26EC7C5-2023-D9D9-E651-11176F3A44F6}"/>
              </a:ext>
            </a:extLst>
          </p:cNvPr>
          <p:cNvSpPr>
            <a:spLocks noGrp="1"/>
          </p:cNvSpPr>
          <p:nvPr>
            <p:ph type="body" sz="quarter" idx="13"/>
          </p:nvPr>
        </p:nvSpPr>
        <p:spPr/>
        <p:txBody>
          <a:bodyPr/>
          <a:lstStyle/>
          <a:p>
            <a:endParaRPr lang="zh-TW" altLang="en-US"/>
          </a:p>
        </p:txBody>
      </p:sp>
      <p:sp>
        <p:nvSpPr>
          <p:cNvPr id="5" name="Oval 4"/>
          <p:cNvSpPr>
            <a:spLocks noChangeAspect="1"/>
          </p:cNvSpPr>
          <p:nvPr/>
        </p:nvSpPr>
        <p:spPr bwMode="gray">
          <a:xfrm>
            <a:off x="653268" y="2349075"/>
            <a:ext cx="1509614" cy="1509614"/>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en-GB" sz="4400" b="1" i="0" u="none" strike="noStrike" kern="1200" cap="none" spc="0" normalizeH="0" baseline="0" noProof="0" dirty="0">
                <a:ln>
                  <a:noFill/>
                </a:ln>
                <a:solidFill>
                  <a:schemeClr val="bg1"/>
                </a:solidFill>
                <a:effectLst/>
                <a:uLnTx/>
                <a:uFillTx/>
                <a:latin typeface="Verdana"/>
                <a:ea typeface="微軟正黑體"/>
                <a:cs typeface="+mn-cs"/>
              </a:rPr>
              <a:t>1</a:t>
            </a:r>
          </a:p>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zh-TW" altLang="en-US" sz="1400" b="1" i="0" u="none" strike="noStrike" kern="1200" cap="none" spc="0" normalizeH="0" baseline="0" noProof="0" dirty="0">
                <a:ln>
                  <a:noFill/>
                </a:ln>
                <a:solidFill>
                  <a:schemeClr val="bg1"/>
                </a:solidFill>
                <a:effectLst/>
                <a:uLnTx/>
                <a:uFillTx/>
                <a:latin typeface="Verdana"/>
                <a:ea typeface="微軟正黑體"/>
                <a:cs typeface="+mn-cs"/>
              </a:rPr>
              <a:t>調研對象現況訪談</a:t>
            </a:r>
            <a:endParaRPr kumimoji="0" lang="en-GB" sz="1400" b="1" i="0" u="none" strike="noStrike" kern="1200" cap="none" spc="0" normalizeH="0" baseline="0" noProof="0" dirty="0">
              <a:ln>
                <a:noFill/>
              </a:ln>
              <a:solidFill>
                <a:schemeClr val="bg1"/>
              </a:solidFill>
              <a:effectLst/>
              <a:uLnTx/>
              <a:uFillTx/>
              <a:latin typeface="Verdana"/>
              <a:ea typeface="微軟正黑體"/>
              <a:cs typeface="+mn-cs"/>
            </a:endParaRPr>
          </a:p>
        </p:txBody>
      </p:sp>
      <p:grpSp>
        <p:nvGrpSpPr>
          <p:cNvPr id="6" name="Group 5"/>
          <p:cNvGrpSpPr>
            <a:grpSpLocks noChangeAspect="1"/>
          </p:cNvGrpSpPr>
          <p:nvPr/>
        </p:nvGrpSpPr>
        <p:grpSpPr bwMode="auto">
          <a:xfrm>
            <a:off x="2390168" y="2907750"/>
            <a:ext cx="392265" cy="392265"/>
            <a:chOff x="3852" y="1696"/>
            <a:chExt cx="340" cy="340"/>
          </a:xfrm>
          <a:solidFill>
            <a:schemeClr val="accent6"/>
          </a:solidFill>
        </p:grpSpPr>
        <p:sp>
          <p:nvSpPr>
            <p:cNvPr id="27"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chemeClr val="bg1"/>
                </a:solidFill>
                <a:effectLst/>
                <a:uLnTx/>
                <a:uFillTx/>
                <a:latin typeface="Verdana"/>
                <a:ea typeface="微軟正黑體"/>
                <a:cs typeface="+mn-cs"/>
              </a:endParaRPr>
            </a:p>
          </p:txBody>
        </p:sp>
        <p:sp>
          <p:nvSpPr>
            <p:cNvPr id="28"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chemeClr val="bg1"/>
                </a:solidFill>
                <a:effectLst/>
                <a:uLnTx/>
                <a:uFillTx/>
                <a:latin typeface="Verdana"/>
                <a:ea typeface="微軟正黑體"/>
                <a:cs typeface="+mn-cs"/>
              </a:endParaRPr>
            </a:p>
          </p:txBody>
        </p:sp>
      </p:grpSp>
      <p:grpSp>
        <p:nvGrpSpPr>
          <p:cNvPr id="7" name="Group 20"/>
          <p:cNvGrpSpPr>
            <a:grpSpLocks noChangeAspect="1"/>
          </p:cNvGrpSpPr>
          <p:nvPr/>
        </p:nvGrpSpPr>
        <p:grpSpPr bwMode="auto">
          <a:xfrm>
            <a:off x="4746619" y="2907750"/>
            <a:ext cx="392265" cy="392265"/>
            <a:chOff x="3852" y="1696"/>
            <a:chExt cx="340" cy="340"/>
          </a:xfrm>
          <a:solidFill>
            <a:schemeClr val="accent6"/>
          </a:solidFill>
        </p:grpSpPr>
        <p:sp>
          <p:nvSpPr>
            <p:cNvPr id="25"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chemeClr val="bg1"/>
                </a:solidFill>
                <a:effectLst/>
                <a:uLnTx/>
                <a:uFillTx/>
                <a:latin typeface="Verdana"/>
                <a:ea typeface="微軟正黑體"/>
                <a:cs typeface="+mn-cs"/>
              </a:endParaRPr>
            </a:p>
          </p:txBody>
        </p:sp>
        <p:sp>
          <p:nvSpPr>
            <p:cNvPr id="26"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chemeClr val="bg1"/>
                </a:solidFill>
                <a:effectLst/>
                <a:uLnTx/>
                <a:uFillTx/>
                <a:latin typeface="Verdana"/>
                <a:ea typeface="微軟正黑體"/>
                <a:cs typeface="+mn-cs"/>
              </a:endParaRPr>
            </a:p>
          </p:txBody>
        </p:sp>
      </p:grpSp>
      <p:sp>
        <p:nvSpPr>
          <p:cNvPr id="12" name="Oval 35"/>
          <p:cNvSpPr>
            <a:spLocks noChangeAspect="1"/>
          </p:cNvSpPr>
          <p:nvPr/>
        </p:nvSpPr>
        <p:spPr bwMode="gray">
          <a:xfrm>
            <a:off x="3009719" y="2349075"/>
            <a:ext cx="1509614" cy="1509614"/>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en-GB" sz="4400" b="1" i="0" u="none" strike="noStrike" kern="1200" cap="none" spc="0" normalizeH="0" baseline="0" noProof="0" dirty="0">
                <a:ln>
                  <a:noFill/>
                </a:ln>
                <a:solidFill>
                  <a:schemeClr val="bg1"/>
                </a:solidFill>
                <a:effectLst/>
                <a:uLnTx/>
                <a:uFillTx/>
                <a:latin typeface="Verdana"/>
                <a:ea typeface="微軟正黑體"/>
                <a:cs typeface="+mn-cs"/>
              </a:rPr>
              <a:t>2</a:t>
            </a:r>
          </a:p>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zh-TW" altLang="en-US" sz="1400" b="1" i="0" u="none" strike="noStrike" kern="1200" cap="none" spc="0" normalizeH="0" baseline="0" noProof="0" dirty="0">
                <a:ln>
                  <a:noFill/>
                </a:ln>
                <a:solidFill>
                  <a:schemeClr val="bg1"/>
                </a:solidFill>
                <a:effectLst/>
                <a:uLnTx/>
                <a:uFillTx/>
                <a:latin typeface="Verdana"/>
                <a:ea typeface="微軟正黑體"/>
                <a:cs typeface="+mn-cs"/>
              </a:rPr>
              <a:t>發展委外內部作業參考規範</a:t>
            </a:r>
            <a:endParaRPr kumimoji="0" lang="en-GB" sz="1400" b="1" i="0" u="none" strike="noStrike" kern="1200" cap="none" spc="0" normalizeH="0" baseline="0" noProof="0" dirty="0">
              <a:ln>
                <a:noFill/>
              </a:ln>
              <a:solidFill>
                <a:schemeClr val="bg1"/>
              </a:solidFill>
              <a:effectLst/>
              <a:uLnTx/>
              <a:uFillTx/>
              <a:latin typeface="Verdana"/>
              <a:ea typeface="微軟正黑體"/>
              <a:cs typeface="+mn-cs"/>
            </a:endParaRPr>
          </a:p>
        </p:txBody>
      </p:sp>
      <p:sp>
        <p:nvSpPr>
          <p:cNvPr id="13" name="Oval 36"/>
          <p:cNvSpPr>
            <a:spLocks noChangeAspect="1"/>
          </p:cNvSpPr>
          <p:nvPr/>
        </p:nvSpPr>
        <p:spPr bwMode="gray">
          <a:xfrm>
            <a:off x="5366170" y="2349075"/>
            <a:ext cx="1509614" cy="1509614"/>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en-GB" sz="4400" b="1" i="0" u="none" strike="noStrike" kern="1200" cap="none" spc="0" normalizeH="0" baseline="0" noProof="0" dirty="0">
                <a:ln>
                  <a:noFill/>
                </a:ln>
                <a:solidFill>
                  <a:schemeClr val="bg1"/>
                </a:solidFill>
                <a:effectLst/>
                <a:uLnTx/>
                <a:uFillTx/>
                <a:latin typeface="Verdana"/>
                <a:ea typeface="微軟正黑體"/>
                <a:cs typeface="+mn-cs"/>
              </a:rPr>
              <a:t>3</a:t>
            </a:r>
          </a:p>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zh-TW" altLang="en-US" sz="1400" b="1" i="0" u="none" strike="noStrike" kern="1200" cap="none" spc="0" normalizeH="0" baseline="0" noProof="0" dirty="0">
                <a:ln>
                  <a:noFill/>
                </a:ln>
                <a:solidFill>
                  <a:schemeClr val="bg1"/>
                </a:solidFill>
                <a:effectLst/>
                <a:uLnTx/>
                <a:uFillTx/>
                <a:latin typeface="Verdana"/>
                <a:ea typeface="微軟正黑體"/>
                <a:cs typeface="+mn-cs"/>
              </a:rPr>
              <a:t>可行性驗證</a:t>
            </a:r>
            <a:endParaRPr kumimoji="0" lang="en-GB" sz="1400" b="1" i="0" u="none" strike="noStrike" kern="1200" cap="none" spc="0" normalizeH="0" baseline="0" noProof="0" dirty="0">
              <a:ln>
                <a:noFill/>
              </a:ln>
              <a:solidFill>
                <a:schemeClr val="bg1"/>
              </a:solidFill>
              <a:effectLst/>
              <a:uLnTx/>
              <a:uFillTx/>
              <a:latin typeface="Verdana"/>
              <a:ea typeface="微軟正黑體"/>
              <a:cs typeface="+mn-cs"/>
            </a:endParaRPr>
          </a:p>
        </p:txBody>
      </p:sp>
      <p:sp>
        <p:nvSpPr>
          <p:cNvPr id="14" name="Oval 37"/>
          <p:cNvSpPr>
            <a:spLocks noChangeAspect="1"/>
          </p:cNvSpPr>
          <p:nvPr/>
        </p:nvSpPr>
        <p:spPr bwMode="gray">
          <a:xfrm>
            <a:off x="7722621" y="2349075"/>
            <a:ext cx="1509614" cy="1509614"/>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en-GB" sz="4400" b="1" i="0" u="none" strike="noStrike" kern="1200" cap="none" spc="0" normalizeH="0" baseline="0" noProof="0" dirty="0">
                <a:ln>
                  <a:noFill/>
                </a:ln>
                <a:solidFill>
                  <a:schemeClr val="bg1"/>
                </a:solidFill>
                <a:effectLst/>
                <a:uLnTx/>
                <a:uFillTx/>
                <a:latin typeface="Verdana"/>
                <a:ea typeface="微軟正黑體"/>
              </a:rPr>
              <a:t>4</a:t>
            </a:r>
          </a:p>
          <a:p>
            <a:pPr algn="ctr"/>
            <a:r>
              <a:rPr lang="zh-TW" altLang="en-US" sz="1400" b="1" kern="0" dirty="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rPr>
              <a:t>參考規範說明會</a:t>
            </a:r>
            <a:endParaRPr lang="en-US" altLang="zh-TW" sz="1400" b="1" kern="0" dirty="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endParaRPr>
          </a:p>
        </p:txBody>
      </p:sp>
      <p:sp>
        <p:nvSpPr>
          <p:cNvPr id="15" name="Oval 38"/>
          <p:cNvSpPr>
            <a:spLocks noChangeAspect="1"/>
          </p:cNvSpPr>
          <p:nvPr/>
        </p:nvSpPr>
        <p:spPr bwMode="gray">
          <a:xfrm>
            <a:off x="10079070" y="2349075"/>
            <a:ext cx="1509614" cy="1509614"/>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en-GB" sz="4400" b="1" i="0" u="none" strike="noStrike" kern="1200" cap="none" spc="0" normalizeH="0" baseline="0" noProof="0" dirty="0">
                <a:ln>
                  <a:noFill/>
                </a:ln>
                <a:solidFill>
                  <a:schemeClr val="bg1"/>
                </a:solidFill>
                <a:effectLst/>
                <a:uLnTx/>
                <a:uFillTx/>
                <a:latin typeface="Verdana"/>
                <a:ea typeface="微軟正黑體"/>
                <a:cs typeface="+mn-cs"/>
              </a:rPr>
              <a:t>5</a:t>
            </a:r>
          </a:p>
          <a:p>
            <a:pPr lvl="0" algn="ctr" defTabSz="1219170">
              <a:defRPr/>
            </a:pPr>
            <a:r>
              <a:rPr kumimoji="0" lang="zh-TW" altLang="en-US" sz="1400" b="1" i="0" u="none" strike="noStrike" kern="1200" cap="none" spc="0" normalizeH="0" baseline="0" noProof="0" dirty="0">
                <a:ln>
                  <a:noFill/>
                </a:ln>
                <a:solidFill>
                  <a:schemeClr val="bg1"/>
                </a:solidFill>
                <a:effectLst/>
                <a:uLnTx/>
                <a:uFillTx/>
                <a:latin typeface="Verdana"/>
                <a:ea typeface="微軟正黑體"/>
                <a:cs typeface="+mn-cs"/>
              </a:rPr>
              <a:t>範本公告</a:t>
            </a:r>
            <a:endParaRPr kumimoji="0" lang="en-US" altLang="zh-TW" sz="1400" b="1" i="0" u="none" strike="noStrike" kern="1200" cap="none" spc="0" normalizeH="0" baseline="0" noProof="0" dirty="0">
              <a:ln>
                <a:noFill/>
              </a:ln>
              <a:solidFill>
                <a:schemeClr val="bg1"/>
              </a:solidFill>
              <a:effectLst/>
              <a:uLnTx/>
              <a:uFillTx/>
              <a:latin typeface="Verdana"/>
              <a:ea typeface="微軟正黑體"/>
              <a:cs typeface="+mn-cs"/>
            </a:endParaRPr>
          </a:p>
          <a:p>
            <a:pPr lvl="0" algn="ctr" defTabSz="1219170">
              <a:defRPr/>
            </a:pPr>
            <a:endParaRPr kumimoji="0" lang="en-GB" sz="1400" b="1" i="0" u="none" strike="noStrike" kern="1200" cap="none" spc="0" normalizeH="0" baseline="0" noProof="0" dirty="0">
              <a:ln>
                <a:noFill/>
              </a:ln>
              <a:solidFill>
                <a:schemeClr val="bg1"/>
              </a:solidFill>
              <a:effectLst/>
              <a:uLnTx/>
              <a:uFillTx/>
              <a:latin typeface="Verdana"/>
              <a:ea typeface="微軟正黑體"/>
              <a:cs typeface="+mn-cs"/>
            </a:endParaRPr>
          </a:p>
        </p:txBody>
      </p:sp>
      <p:sp>
        <p:nvSpPr>
          <p:cNvPr id="58" name="Oval 39"/>
          <p:cNvSpPr>
            <a:spLocks noChangeAspect="1"/>
          </p:cNvSpPr>
          <p:nvPr/>
        </p:nvSpPr>
        <p:spPr bwMode="gray">
          <a:xfrm>
            <a:off x="6875784" y="4372490"/>
            <a:ext cx="900000" cy="900000"/>
          </a:xfrm>
          <a:prstGeom prst="ellipse">
            <a:avLst/>
          </a:prstGeom>
          <a:noFill/>
          <a:ln w="19050" algn="ctr">
            <a:solidFill>
              <a:schemeClr val="accent3"/>
            </a:solidFill>
            <a:miter lim="800000"/>
            <a:headEnd/>
            <a:tailEnd/>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zh-TW" altLang="en-US" sz="1400" b="0" i="0" u="none" strike="noStrike" kern="1200" cap="none" spc="0" normalizeH="0" baseline="0" noProof="0" dirty="0">
                <a:ln>
                  <a:noFill/>
                </a:ln>
                <a:solidFill>
                  <a:schemeClr val="bg1"/>
                </a:solidFill>
                <a:effectLst/>
                <a:uLnTx/>
                <a:uFillTx/>
                <a:latin typeface="Verdana"/>
                <a:ea typeface="微軟正黑體"/>
                <a:cs typeface="+mn-cs"/>
              </a:rPr>
              <a:t>討論</a:t>
            </a:r>
            <a:br>
              <a:rPr kumimoji="0" lang="en-US" altLang="zh-TW" sz="1400" b="0" i="0" u="none" strike="noStrike" kern="1200" cap="none" spc="0" normalizeH="0" baseline="0" noProof="0" dirty="0">
                <a:ln>
                  <a:noFill/>
                </a:ln>
                <a:solidFill>
                  <a:schemeClr val="bg1"/>
                </a:solidFill>
                <a:effectLst/>
                <a:uLnTx/>
                <a:uFillTx/>
                <a:latin typeface="Verdana"/>
                <a:ea typeface="微軟正黑體"/>
                <a:cs typeface="+mn-cs"/>
              </a:rPr>
            </a:br>
            <a:r>
              <a:rPr kumimoji="0" lang="zh-TW" altLang="en-US" sz="1400" b="0" i="0" u="none" strike="noStrike" kern="1200" cap="none" spc="0" normalizeH="0" baseline="0" noProof="0" dirty="0">
                <a:ln>
                  <a:noFill/>
                </a:ln>
                <a:solidFill>
                  <a:schemeClr val="bg1"/>
                </a:solidFill>
                <a:effectLst/>
                <a:uLnTx/>
                <a:uFillTx/>
                <a:latin typeface="Verdana"/>
                <a:ea typeface="微軟正黑體"/>
                <a:cs typeface="+mn-cs"/>
              </a:rPr>
              <a:t>會議</a:t>
            </a:r>
            <a:endParaRPr kumimoji="0" lang="en-GB" sz="1400" b="0" i="0" u="none" strike="noStrike" kern="1200" cap="none" spc="0" normalizeH="0" baseline="0" noProof="0" dirty="0">
              <a:ln>
                <a:noFill/>
              </a:ln>
              <a:solidFill>
                <a:schemeClr val="bg1"/>
              </a:solidFill>
              <a:effectLst/>
              <a:uLnTx/>
              <a:uFillTx/>
              <a:latin typeface="Verdana"/>
              <a:ea typeface="微軟正黑體"/>
              <a:cs typeface="+mn-cs"/>
            </a:endParaRPr>
          </a:p>
        </p:txBody>
      </p:sp>
      <p:cxnSp>
        <p:nvCxnSpPr>
          <p:cNvPr id="61" name="直線單箭頭接點 60"/>
          <p:cNvCxnSpPr>
            <a:cxnSpLocks/>
            <a:stCxn id="58" idx="2"/>
            <a:endCxn id="13" idx="4"/>
          </p:cNvCxnSpPr>
          <p:nvPr/>
        </p:nvCxnSpPr>
        <p:spPr>
          <a:xfrm rot="10800000">
            <a:off x="6120978" y="3858690"/>
            <a:ext cx="754807" cy="963801"/>
          </a:xfrm>
          <a:prstGeom prst="bentConnector2">
            <a:avLst/>
          </a:prstGeom>
          <a:ln>
            <a:solidFill>
              <a:schemeClr val="bg1">
                <a:lumMod val="50000"/>
              </a:schemeClr>
            </a:solidFill>
            <a:prstDash val="lg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直線單箭頭接點 63"/>
          <p:cNvCxnSpPr>
            <a:cxnSpLocks/>
            <a:stCxn id="58" idx="6"/>
            <a:endCxn id="14" idx="4"/>
          </p:cNvCxnSpPr>
          <p:nvPr/>
        </p:nvCxnSpPr>
        <p:spPr>
          <a:xfrm flipV="1">
            <a:off x="7775784" y="3858689"/>
            <a:ext cx="701644" cy="963801"/>
          </a:xfrm>
          <a:prstGeom prst="bentConnector2">
            <a:avLst/>
          </a:prstGeom>
          <a:ln>
            <a:solidFill>
              <a:schemeClr val="bg1">
                <a:lumMod val="50000"/>
              </a:schemeClr>
            </a:solidFill>
            <a:prstDash val="lg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 name="Group 20">
            <a:extLst>
              <a:ext uri="{FF2B5EF4-FFF2-40B4-BE49-F238E27FC236}">
                <a16:creationId xmlns:a16="http://schemas.microsoft.com/office/drawing/2014/main" id="{CA471DE5-9A55-A844-28B1-9C1F4FA6CB4B}"/>
              </a:ext>
            </a:extLst>
          </p:cNvPr>
          <p:cNvGrpSpPr>
            <a:grpSpLocks noChangeAspect="1"/>
          </p:cNvGrpSpPr>
          <p:nvPr/>
        </p:nvGrpSpPr>
        <p:grpSpPr bwMode="auto">
          <a:xfrm>
            <a:off x="7103070" y="2907750"/>
            <a:ext cx="392265" cy="392265"/>
            <a:chOff x="3852" y="1696"/>
            <a:chExt cx="340" cy="340"/>
          </a:xfrm>
          <a:solidFill>
            <a:schemeClr val="accent6"/>
          </a:solidFill>
        </p:grpSpPr>
        <p:sp>
          <p:nvSpPr>
            <p:cNvPr id="29" name="Freeform 236">
              <a:extLst>
                <a:ext uri="{FF2B5EF4-FFF2-40B4-BE49-F238E27FC236}">
                  <a16:creationId xmlns:a16="http://schemas.microsoft.com/office/drawing/2014/main" id="{E94F776E-C782-131B-1ED8-76798443B7F6}"/>
                </a:ext>
              </a:extLst>
            </p:cNvPr>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chemeClr val="bg1"/>
                </a:solidFill>
                <a:effectLst/>
                <a:uLnTx/>
                <a:uFillTx/>
                <a:latin typeface="Verdana"/>
                <a:ea typeface="微軟正黑體"/>
                <a:cs typeface="+mn-cs"/>
              </a:endParaRPr>
            </a:p>
          </p:txBody>
        </p:sp>
        <p:sp>
          <p:nvSpPr>
            <p:cNvPr id="30" name="Freeform 237">
              <a:extLst>
                <a:ext uri="{FF2B5EF4-FFF2-40B4-BE49-F238E27FC236}">
                  <a16:creationId xmlns:a16="http://schemas.microsoft.com/office/drawing/2014/main" id="{9C8F913A-DA75-54DC-8184-6F7D8A72715D}"/>
                </a:ext>
              </a:extLst>
            </p:cNvPr>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chemeClr val="bg1"/>
                </a:solidFill>
                <a:effectLst/>
                <a:uLnTx/>
                <a:uFillTx/>
                <a:latin typeface="Verdana"/>
                <a:ea typeface="微軟正黑體"/>
                <a:cs typeface="+mn-cs"/>
              </a:endParaRPr>
            </a:p>
          </p:txBody>
        </p:sp>
      </p:grpSp>
      <p:grpSp>
        <p:nvGrpSpPr>
          <p:cNvPr id="37" name="Group 20">
            <a:extLst>
              <a:ext uri="{FF2B5EF4-FFF2-40B4-BE49-F238E27FC236}">
                <a16:creationId xmlns:a16="http://schemas.microsoft.com/office/drawing/2014/main" id="{9698B911-2E24-7978-148B-268908610A4C}"/>
              </a:ext>
            </a:extLst>
          </p:cNvPr>
          <p:cNvGrpSpPr>
            <a:grpSpLocks noChangeAspect="1"/>
          </p:cNvGrpSpPr>
          <p:nvPr/>
        </p:nvGrpSpPr>
        <p:grpSpPr bwMode="auto">
          <a:xfrm>
            <a:off x="9459521" y="2907750"/>
            <a:ext cx="392265" cy="392265"/>
            <a:chOff x="3852" y="1696"/>
            <a:chExt cx="340" cy="340"/>
          </a:xfrm>
          <a:solidFill>
            <a:schemeClr val="accent6"/>
          </a:solidFill>
        </p:grpSpPr>
        <p:sp>
          <p:nvSpPr>
            <p:cNvPr id="38" name="Freeform 236">
              <a:extLst>
                <a:ext uri="{FF2B5EF4-FFF2-40B4-BE49-F238E27FC236}">
                  <a16:creationId xmlns:a16="http://schemas.microsoft.com/office/drawing/2014/main" id="{205175F9-74D2-B653-D722-A5612E0B8BBD}"/>
                </a:ext>
              </a:extLst>
            </p:cNvPr>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chemeClr val="bg1"/>
                </a:solidFill>
                <a:effectLst/>
                <a:uLnTx/>
                <a:uFillTx/>
                <a:latin typeface="Verdana"/>
                <a:ea typeface="微軟正黑體"/>
                <a:cs typeface="+mn-cs"/>
              </a:endParaRPr>
            </a:p>
          </p:txBody>
        </p:sp>
        <p:sp>
          <p:nvSpPr>
            <p:cNvPr id="39" name="Freeform 237">
              <a:extLst>
                <a:ext uri="{FF2B5EF4-FFF2-40B4-BE49-F238E27FC236}">
                  <a16:creationId xmlns:a16="http://schemas.microsoft.com/office/drawing/2014/main" id="{F9BA27EE-3DE0-83B0-841A-69C62FB80595}"/>
                </a:ext>
              </a:extLst>
            </p:cNvPr>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chemeClr val="bg1"/>
                </a:solidFill>
                <a:effectLst/>
                <a:uLnTx/>
                <a:uFillTx/>
                <a:latin typeface="Verdana"/>
                <a:ea typeface="微軟正黑體"/>
                <a:cs typeface="+mn-cs"/>
              </a:endParaRPr>
            </a:p>
          </p:txBody>
        </p:sp>
      </p:grpSp>
    </p:spTree>
    <p:extLst>
      <p:ext uri="{BB962C8B-B14F-4D97-AF65-F5344CB8AC3E}">
        <p14:creationId xmlns:p14="http://schemas.microsoft.com/office/powerpoint/2010/main" val="17860877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35051618-7A41-B23A-166D-AF209083E0F5}"/>
              </a:ext>
            </a:extLst>
          </p:cNvPr>
          <p:cNvSpPr>
            <a:spLocks noGrp="1"/>
          </p:cNvSpPr>
          <p:nvPr>
            <p:ph type="title"/>
          </p:nvPr>
        </p:nvSpPr>
        <p:spPr/>
        <p:txBody>
          <a:bodyPr/>
          <a:lstStyle/>
          <a:p>
            <a:r>
              <a:rPr lang="zh-TW" altLang="en-US" b="1" dirty="0"/>
              <a:t>專案時程</a:t>
            </a:r>
          </a:p>
        </p:txBody>
      </p:sp>
      <p:graphicFrame>
        <p:nvGraphicFramePr>
          <p:cNvPr id="3" name="表格 2">
            <a:extLst>
              <a:ext uri="{FF2B5EF4-FFF2-40B4-BE49-F238E27FC236}">
                <a16:creationId xmlns:a16="http://schemas.microsoft.com/office/drawing/2014/main" id="{88A6545E-8905-DC4F-10A8-58BD7206EBB5}"/>
              </a:ext>
            </a:extLst>
          </p:cNvPr>
          <p:cNvGraphicFramePr>
            <a:graphicFrameLocks noGrp="1"/>
          </p:cNvGraphicFramePr>
          <p:nvPr>
            <p:extLst>
              <p:ext uri="{D42A27DB-BD31-4B8C-83A1-F6EECF244321}">
                <p14:modId xmlns:p14="http://schemas.microsoft.com/office/powerpoint/2010/main" val="3036226988"/>
              </p:ext>
            </p:extLst>
          </p:nvPr>
        </p:nvGraphicFramePr>
        <p:xfrm>
          <a:off x="469899" y="740809"/>
          <a:ext cx="11252201" cy="5407536"/>
        </p:xfrm>
        <a:graphic>
          <a:graphicData uri="http://schemas.openxmlformats.org/drawingml/2006/table">
            <a:tbl>
              <a:tblPr firstRow="1">
                <a:tableStyleId>{5C22544A-7EE6-4342-B048-85BDC9FD1C3A}</a:tableStyleId>
              </a:tblPr>
              <a:tblGrid>
                <a:gridCol w="1284473">
                  <a:extLst>
                    <a:ext uri="{9D8B030D-6E8A-4147-A177-3AD203B41FA5}">
                      <a16:colId xmlns:a16="http://schemas.microsoft.com/office/drawing/2014/main" val="101422109"/>
                    </a:ext>
                  </a:extLst>
                </a:gridCol>
                <a:gridCol w="1977656">
                  <a:extLst>
                    <a:ext uri="{9D8B030D-6E8A-4147-A177-3AD203B41FA5}">
                      <a16:colId xmlns:a16="http://schemas.microsoft.com/office/drawing/2014/main" val="514394115"/>
                    </a:ext>
                  </a:extLst>
                </a:gridCol>
                <a:gridCol w="2434856">
                  <a:extLst>
                    <a:ext uri="{9D8B030D-6E8A-4147-A177-3AD203B41FA5}">
                      <a16:colId xmlns:a16="http://schemas.microsoft.com/office/drawing/2014/main" val="2383769407"/>
                    </a:ext>
                  </a:extLst>
                </a:gridCol>
                <a:gridCol w="694402">
                  <a:extLst>
                    <a:ext uri="{9D8B030D-6E8A-4147-A177-3AD203B41FA5}">
                      <a16:colId xmlns:a16="http://schemas.microsoft.com/office/drawing/2014/main" val="2514617269"/>
                    </a:ext>
                  </a:extLst>
                </a:gridCol>
                <a:gridCol w="694402">
                  <a:extLst>
                    <a:ext uri="{9D8B030D-6E8A-4147-A177-3AD203B41FA5}">
                      <a16:colId xmlns:a16="http://schemas.microsoft.com/office/drawing/2014/main" val="3631882564"/>
                    </a:ext>
                  </a:extLst>
                </a:gridCol>
                <a:gridCol w="694402">
                  <a:extLst>
                    <a:ext uri="{9D8B030D-6E8A-4147-A177-3AD203B41FA5}">
                      <a16:colId xmlns:a16="http://schemas.microsoft.com/office/drawing/2014/main" val="3081317466"/>
                    </a:ext>
                  </a:extLst>
                </a:gridCol>
                <a:gridCol w="694402">
                  <a:extLst>
                    <a:ext uri="{9D8B030D-6E8A-4147-A177-3AD203B41FA5}">
                      <a16:colId xmlns:a16="http://schemas.microsoft.com/office/drawing/2014/main" val="615869234"/>
                    </a:ext>
                  </a:extLst>
                </a:gridCol>
                <a:gridCol w="694402">
                  <a:extLst>
                    <a:ext uri="{9D8B030D-6E8A-4147-A177-3AD203B41FA5}">
                      <a16:colId xmlns:a16="http://schemas.microsoft.com/office/drawing/2014/main" val="3117832691"/>
                    </a:ext>
                  </a:extLst>
                </a:gridCol>
                <a:gridCol w="694402">
                  <a:extLst>
                    <a:ext uri="{9D8B030D-6E8A-4147-A177-3AD203B41FA5}">
                      <a16:colId xmlns:a16="http://schemas.microsoft.com/office/drawing/2014/main" val="992389418"/>
                    </a:ext>
                  </a:extLst>
                </a:gridCol>
                <a:gridCol w="694402">
                  <a:extLst>
                    <a:ext uri="{9D8B030D-6E8A-4147-A177-3AD203B41FA5}">
                      <a16:colId xmlns:a16="http://schemas.microsoft.com/office/drawing/2014/main" val="1658126603"/>
                    </a:ext>
                  </a:extLst>
                </a:gridCol>
                <a:gridCol w="694402">
                  <a:extLst>
                    <a:ext uri="{9D8B030D-6E8A-4147-A177-3AD203B41FA5}">
                      <a16:colId xmlns:a16="http://schemas.microsoft.com/office/drawing/2014/main" val="4289381370"/>
                    </a:ext>
                  </a:extLst>
                </a:gridCol>
              </a:tblGrid>
              <a:tr h="276573">
                <a:tc rowSpan="2">
                  <a:txBody>
                    <a:bodyPr/>
                    <a:lstStyle/>
                    <a:p>
                      <a:pPr algn="ctr"/>
                      <a:endParaRPr lang="zh-TW" altLang="en-US" sz="1400" b="1" dirty="0">
                        <a:latin typeface="+mj-ea"/>
                        <a:ea typeface="+mj-ea"/>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zh-TW" altLang="en-US" sz="1400" b="1" dirty="0">
                          <a:latin typeface="+mj-ea"/>
                          <a:ea typeface="+mj-ea"/>
                        </a:rPr>
                        <a:t>專案工作項目</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zh-TW" altLang="en-US" sz="1400" b="1" dirty="0">
                          <a:latin typeface="+mj-ea"/>
                          <a:ea typeface="+mj-ea"/>
                        </a:rPr>
                        <a:t>交付項目</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algn="ctr"/>
                      <a:r>
                        <a:rPr lang="en-US" altLang="zh-TW" sz="1400" b="1" dirty="0"/>
                        <a:t>2023</a:t>
                      </a:r>
                      <a:r>
                        <a:rPr lang="zh-TW" altLang="en-US" sz="1400" b="1" dirty="0"/>
                        <a:t>年</a:t>
                      </a: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r>
                        <a:rPr lang="en-US" altLang="zh-TW" sz="1400" b="1" dirty="0"/>
                        <a:t>2023</a:t>
                      </a:r>
                      <a:r>
                        <a:rPr lang="zh-TW" altLang="en-US" sz="1400" b="1" dirty="0"/>
                        <a:t>年</a:t>
                      </a: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6">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US" altLang="zh-TW" sz="1400" b="1" dirty="0"/>
                        <a:t>2024</a:t>
                      </a:r>
                      <a:r>
                        <a:rPr lang="zh-TW" altLang="en-US" sz="1400" b="1" dirty="0"/>
                        <a:t>年</a:t>
                      </a: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endParaRPr lang="zh-TW" altLang="en-US" sz="1000" b="1" dirty="0"/>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endParaRPr lang="zh-TW" altLang="en-US" sz="1000" b="1" dirty="0"/>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endParaRPr lang="zh-TW" altLang="en-US" sz="1000" b="1" dirty="0"/>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endParaRPr lang="zh-TW" altLang="en-US" sz="1000" b="1" dirty="0"/>
                    </a:p>
                  </a:txBody>
                  <a:tcPr marL="80666" marR="80666" marT="40333" marB="40333" anchor="ctr">
                    <a:lnT w="12700" cap="flat" cmpd="sng" algn="ctr">
                      <a:solidFill>
                        <a:schemeClr val="bg1">
                          <a:lumMod val="65000"/>
                        </a:schemeClr>
                      </a:solidFill>
                      <a:prstDash val="solid"/>
                      <a:round/>
                      <a:headEnd type="none" w="med" len="med"/>
                      <a:tailEnd type="none" w="med" len="med"/>
                    </a:lnT>
                  </a:tcPr>
                </a:tc>
                <a:tc hMerge="1">
                  <a:txBody>
                    <a:bodyPr/>
                    <a:lstStyle/>
                    <a:p>
                      <a:pPr algn="ctr"/>
                      <a:endParaRPr lang="zh-TW" altLang="en-US" sz="1000" b="1" dirty="0"/>
                    </a:p>
                  </a:txBody>
                  <a:tcPr marL="80666" marR="80666" marT="40333" marB="40333" anchor="ctr">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2939994813"/>
                  </a:ext>
                </a:extLst>
              </a:tr>
              <a:tr h="276573">
                <a:tc vMerge="1">
                  <a:txBody>
                    <a:bodyPr/>
                    <a:lstStyle/>
                    <a:p>
                      <a:pPr algn="ctr"/>
                      <a:endParaRPr lang="zh-TW" altLang="en-US" sz="1400" b="1" dirty="0">
                        <a:latin typeface="+mj-ea"/>
                        <a:ea typeface="+mj-ea"/>
                      </a:endParaRPr>
                    </a:p>
                  </a:txBody>
                  <a:tcPr anchor="ctr">
                    <a:lnL w="12700" cap="flat" cmpd="sng" algn="ctr">
                      <a:solidFill>
                        <a:schemeClr val="bg1">
                          <a:lumMod val="65000"/>
                        </a:schemeClr>
                      </a:solidFill>
                      <a:prstDash val="solid"/>
                      <a:round/>
                      <a:headEnd type="none" w="med" len="med"/>
                      <a:tailEnd type="none" w="med" len="med"/>
                    </a:lnL>
                  </a:tcPr>
                </a:tc>
                <a:tc vMerge="1">
                  <a:txBody>
                    <a:bodyPr/>
                    <a:lstStyle/>
                    <a:p>
                      <a:endParaRPr lang="zh-TW" altLang="en-US"/>
                    </a:p>
                  </a:txBody>
                  <a:tcPr/>
                </a:tc>
                <a:tc vMerge="1">
                  <a:txBody>
                    <a:bodyPr/>
                    <a:lstStyle/>
                    <a:p>
                      <a:pPr algn="ctr"/>
                      <a:endParaRPr lang="zh-TW" altLang="en-US" sz="1400" b="1" dirty="0">
                        <a:latin typeface="+mj-ea"/>
                        <a:ea typeface="+mj-ea"/>
                      </a:endParaRPr>
                    </a:p>
                  </a:txBody>
                  <a:tcPr anchor="ctr"/>
                </a:tc>
                <a:tc>
                  <a:txBody>
                    <a:bodyPr/>
                    <a:lstStyle/>
                    <a:p>
                      <a:pPr algn="ctr"/>
                      <a:r>
                        <a:rPr lang="en-US" altLang="zh-TW" sz="1400" b="1" dirty="0">
                          <a:solidFill>
                            <a:schemeClr val="bg1"/>
                          </a:solidFill>
                        </a:rPr>
                        <a:t>11</a:t>
                      </a:r>
                      <a:r>
                        <a:rPr lang="zh-TW" altLang="en-US" sz="1400" b="1" dirty="0">
                          <a:solidFill>
                            <a:schemeClr val="bg1"/>
                          </a:solidFill>
                        </a:rPr>
                        <a:t>月</a:t>
                      </a: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12</a:t>
                      </a:r>
                      <a:r>
                        <a:rPr lang="zh-TW" altLang="en-US" sz="1400" b="1" dirty="0">
                          <a:solidFill>
                            <a:schemeClr val="bg1"/>
                          </a:solidFill>
                        </a:rPr>
                        <a:t>月</a:t>
                      </a: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1</a:t>
                      </a:r>
                      <a:r>
                        <a:rPr lang="zh-TW" altLang="en-US" sz="1400" b="1" dirty="0">
                          <a:solidFill>
                            <a:schemeClr val="bg1"/>
                          </a:solidFill>
                        </a:rPr>
                        <a:t>月</a:t>
                      </a:r>
                      <a:endParaRPr lang="en-US" altLang="zh-TW" sz="14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2</a:t>
                      </a:r>
                      <a:r>
                        <a:rPr lang="zh-TW" altLang="en-US" sz="1400" b="1" dirty="0">
                          <a:solidFill>
                            <a:schemeClr val="bg1"/>
                          </a:solidFill>
                        </a:rPr>
                        <a:t>月</a:t>
                      </a:r>
                      <a:endParaRPr lang="en-US" altLang="zh-TW" sz="14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3</a:t>
                      </a:r>
                      <a:r>
                        <a:rPr lang="zh-TW" altLang="en-US" sz="1400" b="1" dirty="0">
                          <a:solidFill>
                            <a:schemeClr val="bg1"/>
                          </a:solidFill>
                        </a:rPr>
                        <a:t>月</a:t>
                      </a: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4</a:t>
                      </a:r>
                      <a:r>
                        <a:rPr lang="zh-TW" altLang="en-US" sz="1400" b="1" dirty="0">
                          <a:solidFill>
                            <a:schemeClr val="bg1"/>
                          </a:solidFill>
                        </a:rPr>
                        <a:t>月</a:t>
                      </a: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5</a:t>
                      </a:r>
                      <a:r>
                        <a:rPr lang="zh-TW" altLang="en-US" sz="1400" b="1" dirty="0">
                          <a:solidFill>
                            <a:schemeClr val="bg1"/>
                          </a:solidFill>
                        </a:rPr>
                        <a:t>月</a:t>
                      </a: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6</a:t>
                      </a:r>
                      <a:r>
                        <a:rPr lang="zh-TW" altLang="en-US" sz="1400" b="1" dirty="0">
                          <a:solidFill>
                            <a:schemeClr val="bg1"/>
                          </a:solidFill>
                        </a:rPr>
                        <a:t>月</a:t>
                      </a: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03464"/>
                  </a:ext>
                </a:extLst>
              </a:tr>
              <a:tr h="481720">
                <a:tc rowSpan="4">
                  <a:txBody>
                    <a:bodyPr/>
                    <a:lstStyle/>
                    <a:p>
                      <a:pPr marL="0" marR="41275" algn="l">
                        <a:lnSpc>
                          <a:spcPts val="1900"/>
                        </a:lnSpc>
                        <a:spcAft>
                          <a:spcPts val="0"/>
                        </a:spcAft>
                      </a:pPr>
                      <a:r>
                        <a:rPr lang="zh-TW" sz="1400" kern="100" dirty="0">
                          <a:effectLst/>
                          <a:latin typeface="+mn-ea"/>
                          <a:ea typeface="+mn-ea"/>
                        </a:rPr>
                        <a:t>一、調研對象現況訪談</a:t>
                      </a:r>
                    </a:p>
                  </a:txBody>
                  <a:tcPr marL="68580" marR="6858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0" marR="41275" lvl="0" indent="0" algn="l" defTabSz="1219110" rtl="0" eaLnBrk="1" latinLnBrk="0" hangingPunct="1">
                        <a:lnSpc>
                          <a:spcPts val="1900"/>
                        </a:lnSpc>
                        <a:spcAft>
                          <a:spcPts val="0"/>
                        </a:spcAft>
                        <a:buSzPts val="1400"/>
                        <a:buFont typeface="新細明體" panose="02020500000000000000" pitchFamily="18" charset="-120"/>
                        <a:buNone/>
                      </a:pPr>
                      <a:r>
                        <a:rPr lang="zh-TW" altLang="en-US" sz="1400" kern="100" dirty="0">
                          <a:solidFill>
                            <a:schemeClr val="dk1"/>
                          </a:solidFill>
                          <a:effectLst/>
                          <a:latin typeface="+mn-ea"/>
                          <a:ea typeface="+mn-ea"/>
                          <a:cs typeface="+mn-cs"/>
                        </a:rPr>
                        <a:t>專案啟動</a:t>
                      </a: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defTabSz="1219110" rtl="0" eaLnBrk="1" latinLnBrk="0" hangingPunct="1">
                        <a:lnSpc>
                          <a:spcPts val="1900"/>
                        </a:lnSpc>
                        <a:spcAft>
                          <a:spcPts val="0"/>
                        </a:spcAft>
                        <a:buSzPts val="1400"/>
                        <a:buFont typeface="新細明體" panose="02020500000000000000" pitchFamily="18" charset="-120"/>
                        <a:buChar char="•"/>
                      </a:pPr>
                      <a:r>
                        <a:rPr lang="zh-TW" altLang="en-US" sz="1400" kern="100" dirty="0">
                          <a:solidFill>
                            <a:schemeClr val="dk1"/>
                          </a:solidFill>
                          <a:effectLst/>
                          <a:latin typeface="+mn-ea"/>
                          <a:ea typeface="+mn-ea"/>
                          <a:cs typeface="+mn-cs"/>
                        </a:rPr>
                        <a:t>專案啟動會議資料</a:t>
                      </a:r>
                      <a:endParaRPr lang="en-US" altLang="zh-TW" sz="1400" kern="100" dirty="0">
                        <a:solidFill>
                          <a:schemeClr val="dk1"/>
                        </a:solidFill>
                        <a:effectLst/>
                        <a:latin typeface="+mn-ea"/>
                        <a:ea typeface="+mn-ea"/>
                        <a:cs typeface="+mn-cs"/>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3920850438"/>
                  </a:ext>
                </a:extLst>
              </a:tr>
              <a:tr h="481720">
                <a:tc vMerge="1">
                  <a:txBody>
                    <a:bodyPr/>
                    <a:lstStyle/>
                    <a:p>
                      <a:endParaRPr lang="zh-TW" altLang="en-US"/>
                    </a:p>
                  </a:txBody>
                  <a:tcPr/>
                </a:tc>
                <a:tc>
                  <a:txBody>
                    <a:bodyPr/>
                    <a:lstStyle/>
                    <a:p>
                      <a:pPr algn="l" defTabSz="914400">
                        <a:defRPr/>
                      </a:pPr>
                      <a:r>
                        <a:rPr lang="zh-TW" altLang="en-US" sz="1400" dirty="0">
                          <a:solidFill>
                            <a:sysClr val="windowText" lastClr="000000"/>
                          </a:solidFill>
                          <a:latin typeface="微軟正黑體" panose="020B0604030504040204" pitchFamily="34" charset="-120"/>
                          <a:ea typeface="微軟正黑體" panose="020B0604030504040204" pitchFamily="34" charset="-120"/>
                          <a:cs typeface="Times New Roman" panose="02020603050405020304" pitchFamily="18" charset="0"/>
                        </a:rPr>
                        <a:t>調研對象設定與訪談規劃</a:t>
                      </a: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defTabSz="1219110" rtl="0" eaLnBrk="1" fontAlgn="auto" latinLnBrk="0" hangingPunct="1">
                        <a:lnSpc>
                          <a:spcPts val="1900"/>
                        </a:lnSpc>
                        <a:spcBef>
                          <a:spcPts val="0"/>
                        </a:spcBef>
                        <a:spcAft>
                          <a:spcPts val="0"/>
                        </a:spcAft>
                        <a:buClrTx/>
                        <a:buSzPts val="1400"/>
                        <a:buFont typeface="新細明體" panose="02020500000000000000" pitchFamily="18" charset="-120"/>
                        <a:buChar char="•"/>
                        <a:tabLst/>
                        <a:defRPr/>
                      </a:pPr>
                      <a:r>
                        <a:rPr lang="zh-TW" altLang="en-US" sz="1400" kern="100" dirty="0">
                          <a:solidFill>
                            <a:schemeClr val="dk1"/>
                          </a:solidFill>
                          <a:effectLst/>
                          <a:latin typeface="+mn-ea"/>
                          <a:ea typeface="+mn-ea"/>
                          <a:cs typeface="+mn-cs"/>
                        </a:rPr>
                        <a:t>訪談規劃</a:t>
                      </a:r>
                      <a:endParaRPr lang="en-US" altLang="zh-TW" sz="1400" kern="100" dirty="0">
                        <a:solidFill>
                          <a:schemeClr val="dk1"/>
                        </a:solidFill>
                        <a:effectLst/>
                        <a:latin typeface="+mn-ea"/>
                        <a:ea typeface="+mn-ea"/>
                        <a:cs typeface="+mn-cs"/>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3679003802"/>
                  </a:ext>
                </a:extLst>
              </a:tr>
              <a:tr h="481720">
                <a:tc vMerge="1">
                  <a:txBody>
                    <a:bodyPr/>
                    <a:lstStyle/>
                    <a:p>
                      <a:endParaRPr lang="zh-TW" altLang="en-US"/>
                    </a:p>
                  </a:txBody>
                  <a:tcPr/>
                </a:tc>
                <a:tc>
                  <a:txBody>
                    <a:bodyPr/>
                    <a:lstStyle/>
                    <a:p>
                      <a:pPr marL="0" marR="41275" lvl="0" indent="0" algn="l" defTabSz="1219110" rtl="0" eaLnBrk="1" fontAlgn="auto" latinLnBrk="0" hangingPunct="1">
                        <a:lnSpc>
                          <a:spcPts val="1900"/>
                        </a:lnSpc>
                        <a:spcBef>
                          <a:spcPts val="0"/>
                        </a:spcBef>
                        <a:spcAft>
                          <a:spcPts val="0"/>
                        </a:spcAft>
                        <a:buClrTx/>
                        <a:buSzPts val="1400"/>
                        <a:buFont typeface="新細明體" panose="02020500000000000000" pitchFamily="18" charset="-120"/>
                        <a:buNone/>
                        <a:tabLst/>
                        <a:defRPr/>
                      </a:pPr>
                      <a:r>
                        <a:rPr lang="zh-TW" altLang="en-US" sz="1400" dirty="0">
                          <a:solidFill>
                            <a:sysClr val="windowText" lastClr="000000"/>
                          </a:solidFill>
                          <a:latin typeface="微軟正黑體" panose="020B0604030504040204" pitchFamily="34" charset="-120"/>
                          <a:ea typeface="微軟正黑體" panose="020B0604030504040204" pitchFamily="34" charset="-120"/>
                          <a:cs typeface="Times New Roman" panose="02020603050405020304" pitchFamily="18" charset="0"/>
                        </a:rPr>
                        <a:t>現況訪談前說明會</a:t>
                      </a:r>
                      <a:endParaRPr lang="en-US" altLang="zh-TW" sz="1400" dirty="0">
                        <a:solidFill>
                          <a:sysClr val="windowText" lastClr="000000"/>
                        </a:solidFill>
                        <a:latin typeface="微軟正黑體" panose="020B0604030504040204" pitchFamily="34" charset="-120"/>
                        <a:ea typeface="微軟正黑體" panose="020B0604030504040204" pitchFamily="34" charset="-12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defTabSz="1219110" rtl="0" eaLnBrk="1" fontAlgn="auto" latinLnBrk="0" hangingPunct="1">
                        <a:lnSpc>
                          <a:spcPts val="1900"/>
                        </a:lnSpc>
                        <a:spcBef>
                          <a:spcPts val="0"/>
                        </a:spcBef>
                        <a:spcAft>
                          <a:spcPts val="0"/>
                        </a:spcAft>
                        <a:buClrTx/>
                        <a:buSzPts val="1400"/>
                        <a:buFont typeface="新細明體" panose="02020500000000000000" pitchFamily="18" charset="-120"/>
                        <a:buChar char="•"/>
                        <a:tabLst/>
                        <a:defRPr/>
                      </a:pPr>
                      <a:r>
                        <a:rPr lang="zh-TW" altLang="en-US" sz="1400" kern="100" dirty="0">
                          <a:solidFill>
                            <a:schemeClr val="dk1"/>
                          </a:solidFill>
                          <a:effectLst/>
                          <a:latin typeface="+mn-ea"/>
                          <a:ea typeface="+mn-ea"/>
                          <a:cs typeface="+mn-cs"/>
                        </a:rPr>
                        <a:t>訪談前說明會資料</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2968059382"/>
                  </a:ext>
                </a:extLst>
              </a:tr>
              <a:tr h="481720">
                <a:tc vMerge="1">
                  <a:txBody>
                    <a:bodyPr/>
                    <a:lstStyle/>
                    <a:p>
                      <a:endParaRPr lang="zh-TW" altLang="en-US"/>
                    </a:p>
                  </a:txBody>
                  <a:tcPr/>
                </a:tc>
                <a:tc>
                  <a:txBody>
                    <a:bodyPr/>
                    <a:lstStyle/>
                    <a:p>
                      <a:pPr marL="0" marR="41275" lvl="0" indent="0" algn="l" defTabSz="1219110" rtl="0" eaLnBrk="1" fontAlgn="auto" latinLnBrk="0" hangingPunct="1">
                        <a:lnSpc>
                          <a:spcPts val="1900"/>
                        </a:lnSpc>
                        <a:spcBef>
                          <a:spcPts val="0"/>
                        </a:spcBef>
                        <a:spcAft>
                          <a:spcPts val="0"/>
                        </a:spcAft>
                        <a:buClrTx/>
                        <a:buSzPts val="1400"/>
                        <a:buFont typeface="新細明體" panose="02020500000000000000" pitchFamily="18" charset="-120"/>
                        <a:buNone/>
                        <a:tabLst/>
                        <a:defRPr/>
                      </a:pPr>
                      <a:r>
                        <a:rPr lang="zh-TW" altLang="en-US" sz="1400" dirty="0">
                          <a:solidFill>
                            <a:sysClr val="windowText" lastClr="000000"/>
                          </a:solidFill>
                          <a:latin typeface="微軟正黑體" panose="020B0604030504040204" pitchFamily="34" charset="-120"/>
                          <a:ea typeface="微軟正黑體" panose="020B0604030504040204" pitchFamily="34" charset="-120"/>
                          <a:cs typeface="Times New Roman" panose="02020603050405020304" pitchFamily="18" charset="0"/>
                        </a:rPr>
                        <a:t>辦理調研對象現況訪談</a:t>
                      </a:r>
                      <a:endParaRPr lang="en-US" altLang="zh-TW" sz="1400" dirty="0">
                        <a:solidFill>
                          <a:sysClr val="windowText" lastClr="000000"/>
                        </a:solidFill>
                        <a:latin typeface="微軟正黑體" panose="020B0604030504040204" pitchFamily="34" charset="-120"/>
                        <a:ea typeface="微軟正黑體" panose="020B0604030504040204" pitchFamily="34" charset="-12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defTabSz="1219110" rtl="0" eaLnBrk="1" fontAlgn="auto" latinLnBrk="0" hangingPunct="1">
                        <a:lnSpc>
                          <a:spcPts val="1900"/>
                        </a:lnSpc>
                        <a:spcBef>
                          <a:spcPts val="0"/>
                        </a:spcBef>
                        <a:spcAft>
                          <a:spcPts val="0"/>
                        </a:spcAft>
                        <a:buClrTx/>
                        <a:buSzPts val="1400"/>
                        <a:buFont typeface="新細明體" panose="02020500000000000000" pitchFamily="18" charset="-120"/>
                        <a:buChar char="•"/>
                        <a:tabLst/>
                        <a:defRPr/>
                      </a:pPr>
                      <a:r>
                        <a:rPr lang="zh-TW" altLang="en-US" sz="1400" kern="100" dirty="0">
                          <a:solidFill>
                            <a:schemeClr val="dk1"/>
                          </a:solidFill>
                          <a:effectLst/>
                          <a:latin typeface="+mn-ea"/>
                          <a:ea typeface="+mn-ea"/>
                          <a:cs typeface="+mn-cs"/>
                        </a:rPr>
                        <a:t>現況訪談結果彙整</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1951453693"/>
                  </a:ext>
                </a:extLst>
              </a:tr>
              <a:tr h="983018">
                <a:tc rowSpan="3">
                  <a:txBody>
                    <a:bodyPr/>
                    <a:lstStyle/>
                    <a:p>
                      <a:pPr marL="0" marR="41275" algn="l">
                        <a:lnSpc>
                          <a:spcPts val="1900"/>
                        </a:lnSpc>
                        <a:spcAft>
                          <a:spcPts val="0"/>
                        </a:spcAft>
                      </a:pPr>
                      <a:r>
                        <a:rPr lang="zh-TW" sz="1400" kern="100" dirty="0">
                          <a:effectLst/>
                          <a:latin typeface="+mn-ea"/>
                          <a:ea typeface="+mn-ea"/>
                        </a:rPr>
                        <a:t>二、發展委外內部作業參考規範</a:t>
                      </a:r>
                    </a:p>
                  </a:txBody>
                  <a:tcPr marL="68580" marR="6858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0" marR="41275" lvl="0" indent="0" algn="l">
                        <a:lnSpc>
                          <a:spcPts val="1900"/>
                        </a:lnSpc>
                        <a:spcAft>
                          <a:spcPts val="0"/>
                        </a:spcAft>
                        <a:buSzPts val="1400"/>
                        <a:buFont typeface="新細明體" panose="02020500000000000000" pitchFamily="18" charset="-120"/>
                        <a:buNone/>
                      </a:pPr>
                      <a:r>
                        <a:rPr lang="zh-TW" altLang="en-US" sz="1400" kern="100" dirty="0">
                          <a:solidFill>
                            <a:schemeClr val="dk1"/>
                          </a:solidFill>
                          <a:effectLst/>
                          <a:latin typeface="+mn-ea"/>
                          <a:ea typeface="+mn-ea"/>
                          <a:cs typeface="+mn-cs"/>
                        </a:rPr>
                        <a:t>擬訂範本</a:t>
                      </a:r>
                      <a:r>
                        <a:rPr lang="en-US" altLang="zh-TW" sz="1400" kern="100" dirty="0">
                          <a:solidFill>
                            <a:schemeClr val="dk1"/>
                          </a:solidFill>
                          <a:effectLst/>
                          <a:latin typeface="+mn-ea"/>
                          <a:ea typeface="+mn-ea"/>
                          <a:cs typeface="+mn-cs"/>
                        </a:rPr>
                        <a:t>(</a:t>
                      </a:r>
                      <a:r>
                        <a:rPr lang="zh-TW" altLang="en-US" sz="1400" kern="100" dirty="0">
                          <a:solidFill>
                            <a:schemeClr val="dk1"/>
                          </a:solidFill>
                          <a:effectLst/>
                          <a:latin typeface="+mn-ea"/>
                          <a:ea typeface="+mn-ea"/>
                          <a:cs typeface="+mn-cs"/>
                        </a:rPr>
                        <a:t>一</a:t>
                      </a:r>
                      <a:r>
                        <a:rPr lang="en-US" altLang="zh-TW" sz="1400" kern="100" dirty="0">
                          <a:solidFill>
                            <a:schemeClr val="dk1"/>
                          </a:solidFill>
                          <a:effectLst/>
                          <a:latin typeface="+mn-ea"/>
                          <a:ea typeface="+mn-ea"/>
                          <a:cs typeface="+mn-cs"/>
                        </a:rPr>
                        <a:t>)</a:t>
                      </a:r>
                      <a:endParaRPr lang="zh-TW" altLang="en-US" sz="1400" kern="100" dirty="0">
                        <a:solidFill>
                          <a:schemeClr val="dk1"/>
                        </a:solidFill>
                        <a:effectLst/>
                        <a:latin typeface="+mn-ea"/>
                        <a:ea typeface="+mn-ea"/>
                        <a:cs typeface="+mn-cs"/>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a:lnSpc>
                          <a:spcPts val="1900"/>
                        </a:lnSpc>
                        <a:spcAft>
                          <a:spcPts val="0"/>
                        </a:spcAft>
                        <a:buSzPts val="1400"/>
                        <a:buFont typeface="新細明體" panose="02020500000000000000" pitchFamily="18" charset="-120"/>
                        <a:buChar char="•"/>
                      </a:pPr>
                      <a:r>
                        <a:rPr lang="zh-TW" altLang="en-US" sz="1400" kern="100" dirty="0">
                          <a:solidFill>
                            <a:schemeClr val="dk1"/>
                          </a:solidFill>
                          <a:effectLst/>
                          <a:latin typeface="+mn-ea"/>
                          <a:ea typeface="+mn-ea"/>
                          <a:cs typeface="+mn-cs"/>
                        </a:rPr>
                        <a:t>委外內部作業參考規範</a:t>
                      </a:r>
                      <a:r>
                        <a:rPr lang="en-US" sz="1400" kern="100" dirty="0">
                          <a:solidFill>
                            <a:schemeClr val="dk1"/>
                          </a:solidFill>
                          <a:effectLst/>
                          <a:latin typeface="+mn-ea"/>
                          <a:ea typeface="+mn-ea"/>
                          <a:cs typeface="+mn-cs"/>
                        </a:rPr>
                        <a:t>(</a:t>
                      </a:r>
                      <a:r>
                        <a:rPr lang="zh-TW" altLang="en-US" sz="1400" kern="100" dirty="0">
                          <a:solidFill>
                            <a:schemeClr val="dk1"/>
                          </a:solidFill>
                          <a:effectLst/>
                          <a:latin typeface="+mn-ea"/>
                          <a:ea typeface="+mn-ea"/>
                          <a:cs typeface="+mn-cs"/>
                        </a:rPr>
                        <a:t>初稿</a:t>
                      </a:r>
                      <a:r>
                        <a:rPr lang="en-US" sz="1400" kern="100" dirty="0">
                          <a:solidFill>
                            <a:schemeClr val="dk1"/>
                          </a:solidFill>
                          <a:effectLst/>
                          <a:latin typeface="+mn-ea"/>
                          <a:ea typeface="+mn-ea"/>
                          <a:cs typeface="+mn-cs"/>
                        </a:rPr>
                        <a:t>)</a:t>
                      </a:r>
                      <a:endParaRPr lang="zh-TW" altLang="en-US" sz="1400" kern="100" dirty="0">
                        <a:solidFill>
                          <a:schemeClr val="dk1"/>
                        </a:solidFill>
                        <a:effectLst/>
                        <a:latin typeface="+mn-ea"/>
                        <a:ea typeface="+mn-ea"/>
                        <a:cs typeface="+mn-cs"/>
                      </a:endParaRPr>
                    </a:p>
                    <a:p>
                      <a:pPr marL="342900" marR="41275" lvl="0" indent="-342900" algn="l">
                        <a:lnSpc>
                          <a:spcPts val="1900"/>
                        </a:lnSpc>
                        <a:spcAft>
                          <a:spcPts val="0"/>
                        </a:spcAft>
                        <a:buSzPts val="1400"/>
                        <a:buFont typeface="新細明體" panose="02020500000000000000" pitchFamily="18" charset="-120"/>
                        <a:buChar char="•"/>
                      </a:pPr>
                      <a:r>
                        <a:rPr lang="zh-TW" altLang="en-US" sz="1400" kern="100" dirty="0">
                          <a:solidFill>
                            <a:schemeClr val="dk1"/>
                          </a:solidFill>
                          <a:effectLst/>
                          <a:latin typeface="+mn-ea"/>
                          <a:ea typeface="+mn-ea"/>
                          <a:cs typeface="+mn-cs"/>
                        </a:rPr>
                        <a:t>風險基礎方法之委外管理架構</a:t>
                      </a:r>
                      <a:r>
                        <a:rPr lang="en-US" sz="1400" kern="100" dirty="0">
                          <a:solidFill>
                            <a:schemeClr val="dk1"/>
                          </a:solidFill>
                          <a:effectLst/>
                          <a:latin typeface="+mn-ea"/>
                          <a:ea typeface="+mn-ea"/>
                          <a:cs typeface="+mn-cs"/>
                        </a:rPr>
                        <a:t>(</a:t>
                      </a:r>
                      <a:r>
                        <a:rPr lang="zh-TW" altLang="en-US" sz="1400" kern="100" dirty="0">
                          <a:solidFill>
                            <a:schemeClr val="dk1"/>
                          </a:solidFill>
                          <a:effectLst/>
                          <a:latin typeface="+mn-ea"/>
                          <a:ea typeface="+mn-ea"/>
                          <a:cs typeface="+mn-cs"/>
                        </a:rPr>
                        <a:t>初稿</a:t>
                      </a:r>
                      <a:r>
                        <a:rPr lang="en-US" sz="1400" kern="100" dirty="0">
                          <a:solidFill>
                            <a:schemeClr val="dk1"/>
                          </a:solidFill>
                          <a:effectLst/>
                          <a:latin typeface="+mn-ea"/>
                          <a:ea typeface="+mn-ea"/>
                          <a:cs typeface="+mn-cs"/>
                        </a:rPr>
                        <a:t>)</a:t>
                      </a:r>
                      <a:endParaRPr lang="zh-TW" altLang="en-US" sz="1400" kern="100" dirty="0">
                        <a:solidFill>
                          <a:schemeClr val="dk1"/>
                        </a:solidFill>
                        <a:effectLst/>
                        <a:latin typeface="+mn-ea"/>
                        <a:ea typeface="+mn-ea"/>
                        <a:cs typeface="+mn-cs"/>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2289469996"/>
                  </a:ext>
                </a:extLst>
              </a:tr>
              <a:tr h="481344">
                <a:tc vMerge="1">
                  <a:txBody>
                    <a:bodyPr/>
                    <a:lstStyle/>
                    <a:p>
                      <a:endParaRPr lang="zh-TW" altLang="en-US"/>
                    </a:p>
                  </a:txBody>
                  <a:tcPr/>
                </a:tc>
                <a:tc>
                  <a:txBody>
                    <a:bodyPr/>
                    <a:lstStyle/>
                    <a:p>
                      <a:pPr marL="0" marR="41275" lvl="0" indent="0" algn="l" defTabSz="1219110" rtl="0" eaLnBrk="1" fontAlgn="auto" latinLnBrk="0" hangingPunct="1">
                        <a:lnSpc>
                          <a:spcPts val="1900"/>
                        </a:lnSpc>
                        <a:spcBef>
                          <a:spcPts val="0"/>
                        </a:spcBef>
                        <a:spcAft>
                          <a:spcPts val="0"/>
                        </a:spcAft>
                        <a:buClrTx/>
                        <a:buSzPts val="1400"/>
                        <a:buFont typeface="新細明體" panose="02020500000000000000" pitchFamily="18" charset="-120"/>
                        <a:buNone/>
                        <a:tabLst/>
                        <a:defRPr/>
                      </a:pPr>
                      <a:r>
                        <a:rPr lang="zh-TW" altLang="en-US" sz="1400" kern="100" dirty="0">
                          <a:solidFill>
                            <a:schemeClr val="dk1"/>
                          </a:solidFill>
                          <a:effectLst/>
                          <a:latin typeface="+mn-ea"/>
                          <a:ea typeface="+mn-ea"/>
                          <a:cs typeface="+mn-cs"/>
                        </a:rPr>
                        <a:t>擬訂範本</a:t>
                      </a:r>
                      <a:r>
                        <a:rPr lang="en-US" altLang="zh-TW" sz="1400" kern="100" dirty="0">
                          <a:solidFill>
                            <a:schemeClr val="dk1"/>
                          </a:solidFill>
                          <a:effectLst/>
                          <a:latin typeface="+mn-ea"/>
                          <a:ea typeface="+mn-ea"/>
                          <a:cs typeface="+mn-cs"/>
                        </a:rPr>
                        <a:t>(</a:t>
                      </a:r>
                      <a:r>
                        <a:rPr lang="zh-TW" altLang="en-US" sz="1400" kern="100" dirty="0">
                          <a:solidFill>
                            <a:schemeClr val="dk1"/>
                          </a:solidFill>
                          <a:effectLst/>
                          <a:latin typeface="+mn-ea"/>
                          <a:ea typeface="+mn-ea"/>
                          <a:cs typeface="+mn-cs"/>
                        </a:rPr>
                        <a:t>二</a:t>
                      </a:r>
                      <a:r>
                        <a:rPr lang="en-US" altLang="zh-TW" sz="1400" kern="100" dirty="0">
                          <a:solidFill>
                            <a:schemeClr val="dk1"/>
                          </a:solidFill>
                          <a:effectLst/>
                          <a:latin typeface="+mn-ea"/>
                          <a:ea typeface="+mn-ea"/>
                          <a:cs typeface="+mn-cs"/>
                        </a:rPr>
                        <a:t>)</a:t>
                      </a:r>
                      <a:endParaRPr lang="zh-TW" altLang="en-US" sz="1400" kern="100" dirty="0">
                        <a:solidFill>
                          <a:schemeClr val="dk1"/>
                        </a:solidFill>
                        <a:effectLst/>
                        <a:latin typeface="+mn-ea"/>
                        <a:ea typeface="+mn-ea"/>
                        <a:cs typeface="+mn-cs"/>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a:lnSpc>
                          <a:spcPts val="1900"/>
                        </a:lnSpc>
                        <a:spcAft>
                          <a:spcPts val="0"/>
                        </a:spcAft>
                        <a:buSzPts val="1400"/>
                        <a:buFont typeface="新細明體" panose="02020500000000000000" pitchFamily="18" charset="-120"/>
                        <a:buChar char="•"/>
                      </a:pPr>
                      <a:r>
                        <a:rPr lang="zh-TW" altLang="en-US" sz="1400" kern="100" dirty="0">
                          <a:solidFill>
                            <a:schemeClr val="dk1"/>
                          </a:solidFill>
                          <a:effectLst/>
                          <a:latin typeface="+mn-ea"/>
                          <a:ea typeface="+mn-ea"/>
                          <a:cs typeface="+mn-cs"/>
                        </a:rPr>
                        <a:t>委外契約範本</a:t>
                      </a:r>
                      <a:r>
                        <a:rPr lang="en-US" altLang="zh-TW" sz="1400" kern="100" dirty="0">
                          <a:solidFill>
                            <a:schemeClr val="dk1"/>
                          </a:solidFill>
                          <a:effectLst/>
                          <a:latin typeface="+mn-ea"/>
                          <a:ea typeface="+mn-ea"/>
                          <a:cs typeface="+mn-cs"/>
                        </a:rPr>
                        <a:t>(</a:t>
                      </a:r>
                      <a:r>
                        <a:rPr lang="zh-TW" altLang="en-US" sz="1400" kern="100" dirty="0">
                          <a:solidFill>
                            <a:schemeClr val="dk1"/>
                          </a:solidFill>
                          <a:effectLst/>
                          <a:latin typeface="+mn-ea"/>
                          <a:ea typeface="+mn-ea"/>
                          <a:cs typeface="+mn-cs"/>
                        </a:rPr>
                        <a:t>初稿</a:t>
                      </a:r>
                      <a:r>
                        <a:rPr lang="en-US" altLang="zh-TW" sz="1400" kern="100" dirty="0">
                          <a:solidFill>
                            <a:schemeClr val="dk1"/>
                          </a:solidFill>
                          <a:effectLst/>
                          <a:latin typeface="+mn-ea"/>
                          <a:ea typeface="+mn-ea"/>
                          <a:cs typeface="+mn-cs"/>
                        </a:rPr>
                        <a:t>)</a:t>
                      </a:r>
                      <a:endParaRPr lang="zh-TW" altLang="en-US" sz="1400" kern="100" dirty="0">
                        <a:solidFill>
                          <a:schemeClr val="dk1"/>
                        </a:solidFill>
                        <a:effectLst/>
                        <a:latin typeface="+mn-ea"/>
                        <a:ea typeface="+mn-ea"/>
                        <a:cs typeface="+mn-cs"/>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3804204425"/>
                  </a:ext>
                </a:extLst>
              </a:tr>
              <a:tr h="1343461">
                <a:tc vMerge="1">
                  <a:txBody>
                    <a:bodyPr/>
                    <a:lstStyle/>
                    <a:p>
                      <a:pPr marL="0" marR="41275" algn="l">
                        <a:lnSpc>
                          <a:spcPts val="1900"/>
                        </a:lnSpc>
                        <a:spcAft>
                          <a:spcPts val="0"/>
                        </a:spcAft>
                      </a:pPr>
                      <a:endParaRPr lang="zh-TW" sz="1400" kern="100" dirty="0">
                        <a:effectLst/>
                        <a:latin typeface="+mn-ea"/>
                        <a:ea typeface="+mn-ea"/>
                      </a:endParaRPr>
                    </a:p>
                  </a:txBody>
                  <a:tcPr marL="68580" marR="6858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0" marR="41275" lvl="0" indent="0" algn="l">
                        <a:lnSpc>
                          <a:spcPts val="1900"/>
                        </a:lnSpc>
                        <a:spcAft>
                          <a:spcPts val="0"/>
                        </a:spcAft>
                        <a:buSzPts val="1400"/>
                        <a:buFont typeface="新細明體" panose="02020500000000000000" pitchFamily="18" charset="-120"/>
                        <a:buNone/>
                      </a:pPr>
                      <a:r>
                        <a:rPr lang="zh-TW" altLang="en-US" sz="1400" kern="100" dirty="0">
                          <a:solidFill>
                            <a:schemeClr val="dk1"/>
                          </a:solidFill>
                          <a:effectLst/>
                          <a:latin typeface="+mn-ea"/>
                          <a:ea typeface="+mn-ea"/>
                          <a:cs typeface="+mn-cs"/>
                        </a:rPr>
                        <a:t>擬訂範本</a:t>
                      </a:r>
                      <a:r>
                        <a:rPr lang="en-US" altLang="zh-TW" sz="1400" kern="100" dirty="0">
                          <a:solidFill>
                            <a:schemeClr val="dk1"/>
                          </a:solidFill>
                          <a:effectLst/>
                          <a:latin typeface="+mn-ea"/>
                          <a:ea typeface="+mn-ea"/>
                          <a:cs typeface="+mn-cs"/>
                        </a:rPr>
                        <a:t>(</a:t>
                      </a:r>
                      <a:r>
                        <a:rPr lang="zh-TW" altLang="en-US" sz="1400" kern="100" dirty="0">
                          <a:solidFill>
                            <a:schemeClr val="dk1"/>
                          </a:solidFill>
                          <a:effectLst/>
                          <a:latin typeface="+mn-ea"/>
                          <a:ea typeface="+mn-ea"/>
                          <a:cs typeface="+mn-cs"/>
                        </a:rPr>
                        <a:t>三</a:t>
                      </a:r>
                      <a:r>
                        <a:rPr lang="en-US" altLang="zh-TW" sz="1400" kern="100" dirty="0">
                          <a:solidFill>
                            <a:schemeClr val="dk1"/>
                          </a:solidFill>
                          <a:effectLst/>
                          <a:latin typeface="+mn-ea"/>
                          <a:ea typeface="+mn-ea"/>
                          <a:cs typeface="+mn-cs"/>
                        </a:rPr>
                        <a:t>)</a:t>
                      </a:r>
                      <a:endParaRPr lang="zh-TW" altLang="en-US" sz="1400" kern="100" dirty="0">
                        <a:solidFill>
                          <a:schemeClr val="dk1"/>
                        </a:solidFill>
                        <a:effectLst/>
                        <a:latin typeface="+mn-ea"/>
                        <a:ea typeface="+mn-ea"/>
                        <a:cs typeface="+mn-cs"/>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a:lnSpc>
                          <a:spcPts val="1900"/>
                        </a:lnSpc>
                        <a:spcAft>
                          <a:spcPts val="0"/>
                        </a:spcAft>
                        <a:buSzPts val="1400"/>
                        <a:buFont typeface="新細明體" panose="02020500000000000000" pitchFamily="18" charset="-120"/>
                        <a:buChar char="•"/>
                      </a:pPr>
                      <a:r>
                        <a:rPr lang="zh-TW" altLang="en-US" sz="1400" kern="100" dirty="0">
                          <a:solidFill>
                            <a:schemeClr val="dk1"/>
                          </a:solidFill>
                          <a:effectLst/>
                          <a:latin typeface="+mn-ea"/>
                          <a:ea typeface="+mn-ea"/>
                          <a:cs typeface="+mn-cs"/>
                        </a:rPr>
                        <a:t>必要性及適法性分析書件範本</a:t>
                      </a:r>
                      <a:r>
                        <a:rPr lang="en-US" altLang="zh-TW" sz="1400" kern="100" dirty="0">
                          <a:solidFill>
                            <a:schemeClr val="dk1"/>
                          </a:solidFill>
                          <a:effectLst/>
                          <a:latin typeface="+mn-ea"/>
                          <a:ea typeface="+mn-ea"/>
                          <a:cs typeface="+mn-cs"/>
                        </a:rPr>
                        <a:t>(</a:t>
                      </a:r>
                      <a:r>
                        <a:rPr lang="zh-TW" altLang="en-US" sz="1400" kern="100" dirty="0">
                          <a:solidFill>
                            <a:schemeClr val="dk1"/>
                          </a:solidFill>
                          <a:effectLst/>
                          <a:latin typeface="+mn-ea"/>
                          <a:ea typeface="+mn-ea"/>
                          <a:cs typeface="+mn-cs"/>
                        </a:rPr>
                        <a:t>初稿</a:t>
                      </a:r>
                      <a:r>
                        <a:rPr lang="en-US" altLang="zh-TW" sz="1400" kern="100" dirty="0">
                          <a:solidFill>
                            <a:schemeClr val="dk1"/>
                          </a:solidFill>
                          <a:effectLst/>
                          <a:latin typeface="+mn-ea"/>
                          <a:ea typeface="+mn-ea"/>
                          <a:cs typeface="+mn-cs"/>
                        </a:rPr>
                        <a:t>)</a:t>
                      </a:r>
                      <a:endParaRPr lang="zh-TW" altLang="en-US" sz="1400" kern="100" dirty="0">
                        <a:solidFill>
                          <a:schemeClr val="dk1"/>
                        </a:solidFill>
                        <a:effectLst/>
                        <a:latin typeface="+mn-ea"/>
                        <a:ea typeface="+mn-ea"/>
                        <a:cs typeface="+mn-cs"/>
                      </a:endParaRPr>
                    </a:p>
                    <a:p>
                      <a:pPr marL="342900" marR="41275" lvl="0" indent="-342900" algn="l">
                        <a:lnSpc>
                          <a:spcPts val="1900"/>
                        </a:lnSpc>
                        <a:spcAft>
                          <a:spcPts val="0"/>
                        </a:spcAft>
                        <a:buSzPts val="1400"/>
                        <a:buFont typeface="新細明體" panose="02020500000000000000" pitchFamily="18" charset="-120"/>
                        <a:buChar char="•"/>
                      </a:pPr>
                      <a:r>
                        <a:rPr lang="zh-TW" altLang="en-US" sz="1400" kern="100" dirty="0">
                          <a:solidFill>
                            <a:schemeClr val="dk1"/>
                          </a:solidFill>
                          <a:effectLst/>
                          <a:latin typeface="+mn-ea"/>
                          <a:ea typeface="+mn-ea"/>
                          <a:cs typeface="+mn-cs"/>
                        </a:rPr>
                        <a:t>作業委外計劃書範本</a:t>
                      </a:r>
                      <a:r>
                        <a:rPr lang="en-US" altLang="zh-TW" sz="1400" kern="100" dirty="0">
                          <a:solidFill>
                            <a:schemeClr val="dk1"/>
                          </a:solidFill>
                          <a:effectLst/>
                          <a:latin typeface="+mn-ea"/>
                          <a:ea typeface="+mn-ea"/>
                          <a:cs typeface="+mn-cs"/>
                        </a:rPr>
                        <a:t>(</a:t>
                      </a:r>
                      <a:r>
                        <a:rPr lang="zh-TW" altLang="en-US" sz="1400" kern="100" dirty="0">
                          <a:solidFill>
                            <a:schemeClr val="dk1"/>
                          </a:solidFill>
                          <a:effectLst/>
                          <a:latin typeface="+mn-ea"/>
                          <a:ea typeface="+mn-ea"/>
                          <a:cs typeface="+mn-cs"/>
                        </a:rPr>
                        <a:t>初稿</a:t>
                      </a:r>
                      <a:r>
                        <a:rPr lang="en-US" altLang="zh-TW" sz="1400" kern="100" dirty="0">
                          <a:solidFill>
                            <a:schemeClr val="dk1"/>
                          </a:solidFill>
                          <a:effectLst/>
                          <a:latin typeface="+mn-ea"/>
                          <a:ea typeface="+mn-ea"/>
                          <a:cs typeface="+mn-cs"/>
                        </a:rPr>
                        <a:t>)</a:t>
                      </a:r>
                    </a:p>
                    <a:p>
                      <a:pPr marL="342900" marR="41275" lvl="0" indent="-342900" algn="l">
                        <a:lnSpc>
                          <a:spcPts val="1900"/>
                        </a:lnSpc>
                        <a:spcAft>
                          <a:spcPts val="0"/>
                        </a:spcAft>
                        <a:buSzPts val="1400"/>
                        <a:buFont typeface="新細明體" panose="02020500000000000000" pitchFamily="18" charset="-120"/>
                        <a:buChar char="•"/>
                      </a:pPr>
                      <a:r>
                        <a:rPr lang="zh-TW" altLang="en-US" sz="1400" kern="100" dirty="0">
                          <a:solidFill>
                            <a:schemeClr val="dk1"/>
                          </a:solidFill>
                          <a:effectLst/>
                          <a:latin typeface="+mn-ea"/>
                          <a:ea typeface="+mn-ea"/>
                          <a:cs typeface="+mn-cs"/>
                        </a:rPr>
                        <a:t>雲端政策範本</a:t>
                      </a:r>
                      <a:r>
                        <a:rPr lang="en-US" altLang="zh-TW" sz="1400" kern="100" dirty="0">
                          <a:solidFill>
                            <a:schemeClr val="dk1"/>
                          </a:solidFill>
                          <a:effectLst/>
                          <a:latin typeface="+mn-ea"/>
                          <a:ea typeface="+mn-ea"/>
                          <a:cs typeface="+mn-cs"/>
                        </a:rPr>
                        <a:t>(</a:t>
                      </a:r>
                      <a:r>
                        <a:rPr lang="zh-TW" altLang="en-US" sz="1400" kern="100" dirty="0">
                          <a:solidFill>
                            <a:schemeClr val="dk1"/>
                          </a:solidFill>
                          <a:effectLst/>
                          <a:latin typeface="+mn-ea"/>
                          <a:ea typeface="+mn-ea"/>
                          <a:cs typeface="+mn-cs"/>
                        </a:rPr>
                        <a:t>初稿</a:t>
                      </a:r>
                      <a:r>
                        <a:rPr lang="en-US" altLang="zh-TW" sz="1400" kern="100" dirty="0">
                          <a:solidFill>
                            <a:schemeClr val="dk1"/>
                          </a:solidFill>
                          <a:effectLst/>
                          <a:latin typeface="+mn-ea"/>
                          <a:ea typeface="+mn-ea"/>
                          <a:cs typeface="+mn-cs"/>
                        </a:rPr>
                        <a:t>)</a:t>
                      </a:r>
                    </a:p>
                    <a:p>
                      <a:pPr marL="342900" marR="41275" lvl="0" indent="-342900" algn="l">
                        <a:lnSpc>
                          <a:spcPts val="1900"/>
                        </a:lnSpc>
                        <a:spcAft>
                          <a:spcPts val="0"/>
                        </a:spcAft>
                        <a:buSzPts val="1400"/>
                        <a:buFont typeface="新細明體" panose="02020500000000000000" pitchFamily="18" charset="-120"/>
                        <a:buChar char="•"/>
                      </a:pPr>
                      <a:endParaRPr lang="zh-TW" altLang="en-US" sz="1400" kern="100" dirty="0">
                        <a:solidFill>
                          <a:schemeClr val="dk1"/>
                        </a:solidFill>
                        <a:effectLst/>
                        <a:latin typeface="+mn-ea"/>
                        <a:ea typeface="+mn-ea"/>
                        <a:cs typeface="+mn-cs"/>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endParaRPr lang="zh-TW" altLang="en-US"/>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endParaRPr lang="zh-TW" altLang="en-US"/>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endParaRPr lang="zh-TW" altLang="en-US"/>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endParaRPr lang="zh-TW" altLang="en-US"/>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endParaRPr lang="zh-TW" altLang="en-US" dirty="0"/>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endParaRPr lang="zh-TW" altLang="en-US"/>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endParaRPr lang="zh-TW" altLang="en-US"/>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endParaRPr lang="zh-TW" altLang="en-US" dirty="0"/>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1390509242"/>
                  </a:ext>
                </a:extLst>
              </a:tr>
            </a:tbl>
          </a:graphicData>
        </a:graphic>
      </p:graphicFrame>
      <p:sp>
        <p:nvSpPr>
          <p:cNvPr id="6" name="矩形 5">
            <a:extLst>
              <a:ext uri="{FF2B5EF4-FFF2-40B4-BE49-F238E27FC236}">
                <a16:creationId xmlns:a16="http://schemas.microsoft.com/office/drawing/2014/main" id="{1030DA1E-0553-7EBE-0749-3FAEED834EFD}"/>
              </a:ext>
            </a:extLst>
          </p:cNvPr>
          <p:cNvSpPr/>
          <p:nvPr/>
        </p:nvSpPr>
        <p:spPr bwMode="gray">
          <a:xfrm>
            <a:off x="7147844" y="1943810"/>
            <a:ext cx="286045" cy="223281"/>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9" name="矩形 8">
            <a:extLst>
              <a:ext uri="{FF2B5EF4-FFF2-40B4-BE49-F238E27FC236}">
                <a16:creationId xmlns:a16="http://schemas.microsoft.com/office/drawing/2014/main" id="{5D2788F6-ED81-B0BC-89AB-3303FBEE9FBF}"/>
              </a:ext>
            </a:extLst>
          </p:cNvPr>
          <p:cNvSpPr/>
          <p:nvPr/>
        </p:nvSpPr>
        <p:spPr bwMode="gray">
          <a:xfrm>
            <a:off x="7571279" y="3631720"/>
            <a:ext cx="612000" cy="238077"/>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10" name="矩形 9">
            <a:extLst>
              <a:ext uri="{FF2B5EF4-FFF2-40B4-BE49-F238E27FC236}">
                <a16:creationId xmlns:a16="http://schemas.microsoft.com/office/drawing/2014/main" id="{2507C032-B41E-7BF1-8CCB-26173D1B9D9F}"/>
              </a:ext>
            </a:extLst>
          </p:cNvPr>
          <p:cNvSpPr/>
          <p:nvPr/>
        </p:nvSpPr>
        <p:spPr bwMode="gray">
          <a:xfrm>
            <a:off x="7571279" y="4389964"/>
            <a:ext cx="648000" cy="238077"/>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11" name="矩形 10">
            <a:extLst>
              <a:ext uri="{FF2B5EF4-FFF2-40B4-BE49-F238E27FC236}">
                <a16:creationId xmlns:a16="http://schemas.microsoft.com/office/drawing/2014/main" id="{BB0B6E78-8590-10F0-6AA2-2047E85921EB}"/>
              </a:ext>
            </a:extLst>
          </p:cNvPr>
          <p:cNvSpPr/>
          <p:nvPr/>
        </p:nvSpPr>
        <p:spPr bwMode="gray">
          <a:xfrm>
            <a:off x="7025543" y="1493949"/>
            <a:ext cx="274639" cy="22328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19" name="矩形 18">
            <a:extLst>
              <a:ext uri="{FF2B5EF4-FFF2-40B4-BE49-F238E27FC236}">
                <a16:creationId xmlns:a16="http://schemas.microsoft.com/office/drawing/2014/main" id="{106DEE69-BA2A-BD1F-1A84-B1AF4F778A4D}"/>
              </a:ext>
            </a:extLst>
          </p:cNvPr>
          <p:cNvSpPr/>
          <p:nvPr/>
        </p:nvSpPr>
        <p:spPr bwMode="gray">
          <a:xfrm>
            <a:off x="7571279" y="2919660"/>
            <a:ext cx="316798" cy="238077"/>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20" name="矩形 19">
            <a:extLst>
              <a:ext uri="{FF2B5EF4-FFF2-40B4-BE49-F238E27FC236}">
                <a16:creationId xmlns:a16="http://schemas.microsoft.com/office/drawing/2014/main" id="{761AEF83-C8D5-CF19-E587-C5D643048814}"/>
              </a:ext>
            </a:extLst>
          </p:cNvPr>
          <p:cNvSpPr/>
          <p:nvPr/>
        </p:nvSpPr>
        <p:spPr bwMode="gray">
          <a:xfrm>
            <a:off x="8012287" y="5190740"/>
            <a:ext cx="900000" cy="238077"/>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21" name="矩形 20">
            <a:extLst>
              <a:ext uri="{FF2B5EF4-FFF2-40B4-BE49-F238E27FC236}">
                <a16:creationId xmlns:a16="http://schemas.microsoft.com/office/drawing/2014/main" id="{42A250AD-922F-18A2-2C19-7D6B95A67E72}"/>
              </a:ext>
            </a:extLst>
          </p:cNvPr>
          <p:cNvSpPr/>
          <p:nvPr/>
        </p:nvSpPr>
        <p:spPr bwMode="gray">
          <a:xfrm>
            <a:off x="7346248" y="2415628"/>
            <a:ext cx="308156" cy="223281"/>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cxnSp>
        <p:nvCxnSpPr>
          <p:cNvPr id="5" name="直線接點 4">
            <a:extLst>
              <a:ext uri="{FF2B5EF4-FFF2-40B4-BE49-F238E27FC236}">
                <a16:creationId xmlns:a16="http://schemas.microsoft.com/office/drawing/2014/main" id="{8660BF2E-5720-B345-D540-498F9875B2D7}"/>
              </a:ext>
            </a:extLst>
          </p:cNvPr>
          <p:cNvCxnSpPr>
            <a:cxnSpLocks/>
          </p:cNvCxnSpPr>
          <p:nvPr/>
        </p:nvCxnSpPr>
        <p:spPr>
          <a:xfrm>
            <a:off x="10075881" y="627321"/>
            <a:ext cx="36000" cy="5720316"/>
          </a:xfrm>
          <a:prstGeom prst="line">
            <a:avLst/>
          </a:prstGeom>
          <a:ln w="34925">
            <a:solidFill>
              <a:srgbClr val="DA291C"/>
            </a:solidFill>
            <a:prstDash val="dash"/>
          </a:ln>
        </p:spPr>
        <p:style>
          <a:lnRef idx="1">
            <a:schemeClr val="accent1"/>
          </a:lnRef>
          <a:fillRef idx="0">
            <a:schemeClr val="accent1"/>
          </a:fillRef>
          <a:effectRef idx="0">
            <a:schemeClr val="accent1"/>
          </a:effectRef>
          <a:fontRef idx="minor">
            <a:schemeClr val="tx1"/>
          </a:fontRef>
        </p:style>
      </p:cxnSp>
      <p:sp>
        <p:nvSpPr>
          <p:cNvPr id="8" name="文字方塊 7">
            <a:extLst>
              <a:ext uri="{FF2B5EF4-FFF2-40B4-BE49-F238E27FC236}">
                <a16:creationId xmlns:a16="http://schemas.microsoft.com/office/drawing/2014/main" id="{4C2EDA60-988D-44A3-3C69-D381A9BCB0B3}"/>
              </a:ext>
            </a:extLst>
          </p:cNvPr>
          <p:cNvSpPr txBox="1"/>
          <p:nvPr/>
        </p:nvSpPr>
        <p:spPr>
          <a:xfrm>
            <a:off x="9819332" y="243363"/>
            <a:ext cx="585097" cy="369332"/>
          </a:xfrm>
          <a:prstGeom prst="rect">
            <a:avLst/>
          </a:prstGeom>
          <a:noFill/>
        </p:spPr>
        <p:txBody>
          <a:bodyPr wrap="none" lIns="0" tIns="0" rIns="0" bIns="0" rtlCol="0">
            <a:spAutoFit/>
          </a:bodyPr>
          <a:lstStyle/>
          <a:p>
            <a:pPr>
              <a:spcBef>
                <a:spcPts val="600"/>
              </a:spcBef>
              <a:buSzPct val="100000"/>
            </a:pPr>
            <a:r>
              <a:rPr lang="en-US" altLang="zh-TW" dirty="0">
                <a:solidFill>
                  <a:srgbClr val="FF0000"/>
                </a:solidFill>
              </a:rPr>
              <a:t>4/19</a:t>
            </a:r>
            <a:endParaRPr lang="zh-TW" altLang="en-US" dirty="0">
              <a:solidFill>
                <a:srgbClr val="FF0000"/>
              </a:solidFill>
            </a:endParaRPr>
          </a:p>
        </p:txBody>
      </p:sp>
    </p:spTree>
    <p:extLst>
      <p:ext uri="{BB962C8B-B14F-4D97-AF65-F5344CB8AC3E}">
        <p14:creationId xmlns:p14="http://schemas.microsoft.com/office/powerpoint/2010/main" val="2458126100"/>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35051618-7A41-B23A-166D-AF209083E0F5}"/>
              </a:ext>
            </a:extLst>
          </p:cNvPr>
          <p:cNvSpPr>
            <a:spLocks noGrp="1"/>
          </p:cNvSpPr>
          <p:nvPr>
            <p:ph type="title"/>
          </p:nvPr>
        </p:nvSpPr>
        <p:spPr/>
        <p:txBody>
          <a:bodyPr/>
          <a:lstStyle/>
          <a:p>
            <a:r>
              <a:rPr lang="zh-TW" altLang="en-US" b="1" dirty="0"/>
              <a:t>專案時程</a:t>
            </a:r>
          </a:p>
        </p:txBody>
      </p:sp>
      <p:sp>
        <p:nvSpPr>
          <p:cNvPr id="3" name="文字版面配置區 2">
            <a:extLst>
              <a:ext uri="{FF2B5EF4-FFF2-40B4-BE49-F238E27FC236}">
                <a16:creationId xmlns:a16="http://schemas.microsoft.com/office/drawing/2014/main" id="{1BFC9907-D05E-A132-8316-CF2981794273}"/>
              </a:ext>
            </a:extLst>
          </p:cNvPr>
          <p:cNvSpPr>
            <a:spLocks noGrp="1"/>
          </p:cNvSpPr>
          <p:nvPr>
            <p:ph type="body" sz="quarter" idx="13"/>
          </p:nvPr>
        </p:nvSpPr>
        <p:spPr/>
        <p:txBody>
          <a:bodyPr/>
          <a:lstStyle/>
          <a:p>
            <a:endParaRPr lang="zh-TW" altLang="en-US" dirty="0"/>
          </a:p>
        </p:txBody>
      </p:sp>
      <p:graphicFrame>
        <p:nvGraphicFramePr>
          <p:cNvPr id="10" name="表格 9">
            <a:extLst>
              <a:ext uri="{FF2B5EF4-FFF2-40B4-BE49-F238E27FC236}">
                <a16:creationId xmlns:a16="http://schemas.microsoft.com/office/drawing/2014/main" id="{1C5106B3-3962-F2B7-9E18-B22768C6F43A}"/>
              </a:ext>
            </a:extLst>
          </p:cNvPr>
          <p:cNvGraphicFramePr>
            <a:graphicFrameLocks noGrp="1"/>
          </p:cNvGraphicFramePr>
          <p:nvPr>
            <p:extLst>
              <p:ext uri="{D42A27DB-BD31-4B8C-83A1-F6EECF244321}">
                <p14:modId xmlns:p14="http://schemas.microsoft.com/office/powerpoint/2010/main" val="2007939269"/>
              </p:ext>
            </p:extLst>
          </p:nvPr>
        </p:nvGraphicFramePr>
        <p:xfrm>
          <a:off x="469899" y="781891"/>
          <a:ext cx="10832510" cy="5638781"/>
        </p:xfrm>
        <a:graphic>
          <a:graphicData uri="http://schemas.openxmlformats.org/drawingml/2006/table">
            <a:tbl>
              <a:tblPr firstRow="1">
                <a:tableStyleId>{5C22544A-7EE6-4342-B048-85BDC9FD1C3A}</a:tableStyleId>
              </a:tblPr>
              <a:tblGrid>
                <a:gridCol w="1271233">
                  <a:extLst>
                    <a:ext uri="{9D8B030D-6E8A-4147-A177-3AD203B41FA5}">
                      <a16:colId xmlns:a16="http://schemas.microsoft.com/office/drawing/2014/main" val="101422109"/>
                    </a:ext>
                  </a:extLst>
                </a:gridCol>
                <a:gridCol w="1957270">
                  <a:extLst>
                    <a:ext uri="{9D8B030D-6E8A-4147-A177-3AD203B41FA5}">
                      <a16:colId xmlns:a16="http://schemas.microsoft.com/office/drawing/2014/main" val="514394115"/>
                    </a:ext>
                  </a:extLst>
                </a:gridCol>
                <a:gridCol w="2336097">
                  <a:extLst>
                    <a:ext uri="{9D8B030D-6E8A-4147-A177-3AD203B41FA5}">
                      <a16:colId xmlns:a16="http://schemas.microsoft.com/office/drawing/2014/main" val="2383769407"/>
                    </a:ext>
                  </a:extLst>
                </a:gridCol>
                <a:gridCol w="687244">
                  <a:extLst>
                    <a:ext uri="{9D8B030D-6E8A-4147-A177-3AD203B41FA5}">
                      <a16:colId xmlns:a16="http://schemas.microsoft.com/office/drawing/2014/main" val="3081317466"/>
                    </a:ext>
                  </a:extLst>
                </a:gridCol>
                <a:gridCol w="687244">
                  <a:extLst>
                    <a:ext uri="{9D8B030D-6E8A-4147-A177-3AD203B41FA5}">
                      <a16:colId xmlns:a16="http://schemas.microsoft.com/office/drawing/2014/main" val="615869234"/>
                    </a:ext>
                  </a:extLst>
                </a:gridCol>
                <a:gridCol w="687244">
                  <a:extLst>
                    <a:ext uri="{9D8B030D-6E8A-4147-A177-3AD203B41FA5}">
                      <a16:colId xmlns:a16="http://schemas.microsoft.com/office/drawing/2014/main" val="3117832691"/>
                    </a:ext>
                  </a:extLst>
                </a:gridCol>
                <a:gridCol w="687244">
                  <a:extLst>
                    <a:ext uri="{9D8B030D-6E8A-4147-A177-3AD203B41FA5}">
                      <a16:colId xmlns:a16="http://schemas.microsoft.com/office/drawing/2014/main" val="992389418"/>
                    </a:ext>
                  </a:extLst>
                </a:gridCol>
                <a:gridCol w="687244">
                  <a:extLst>
                    <a:ext uri="{9D8B030D-6E8A-4147-A177-3AD203B41FA5}">
                      <a16:colId xmlns:a16="http://schemas.microsoft.com/office/drawing/2014/main" val="1658126603"/>
                    </a:ext>
                  </a:extLst>
                </a:gridCol>
                <a:gridCol w="687244">
                  <a:extLst>
                    <a:ext uri="{9D8B030D-6E8A-4147-A177-3AD203B41FA5}">
                      <a16:colId xmlns:a16="http://schemas.microsoft.com/office/drawing/2014/main" val="4289381370"/>
                    </a:ext>
                  </a:extLst>
                </a:gridCol>
                <a:gridCol w="1144446">
                  <a:extLst>
                    <a:ext uri="{9D8B030D-6E8A-4147-A177-3AD203B41FA5}">
                      <a16:colId xmlns:a16="http://schemas.microsoft.com/office/drawing/2014/main" val="958620667"/>
                    </a:ext>
                  </a:extLst>
                </a:gridCol>
              </a:tblGrid>
              <a:tr h="287032">
                <a:tc rowSpan="2">
                  <a:txBody>
                    <a:bodyPr/>
                    <a:lstStyle/>
                    <a:p>
                      <a:pPr algn="ctr"/>
                      <a:endParaRPr lang="zh-TW" altLang="en-US" sz="1400" b="1" dirty="0">
                        <a:latin typeface="+mj-ea"/>
                        <a:ea typeface="+mj-ea"/>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zh-TW" altLang="en-US" sz="1400" b="1" dirty="0">
                          <a:latin typeface="+mj-ea"/>
                          <a:ea typeface="+mj-ea"/>
                        </a:rPr>
                        <a:t>專案工作項目</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zh-TW" altLang="en-US" sz="1400" b="1" dirty="0">
                          <a:latin typeface="+mj-ea"/>
                          <a:ea typeface="+mj-ea"/>
                        </a:rPr>
                        <a:t>交付項目</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7">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US" altLang="zh-TW" sz="1400" b="1" dirty="0"/>
                        <a:t>2024</a:t>
                      </a:r>
                      <a:r>
                        <a:rPr lang="zh-TW" altLang="en-US" sz="1400" b="1" dirty="0"/>
                        <a:t>年</a:t>
                      </a: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endParaRPr lang="zh-TW" altLang="en-US" sz="1000" b="1" dirty="0"/>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endParaRPr lang="zh-TW" altLang="en-US" sz="1000" b="1" dirty="0"/>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endParaRPr lang="zh-TW" altLang="en-US" sz="1000" b="1" dirty="0"/>
                    </a:p>
                  </a:txBody>
                  <a:tcPr marL="80666" marR="80666" marT="40333" marB="403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endParaRPr lang="zh-TW" altLang="en-US" sz="1000" b="1" dirty="0"/>
                    </a:p>
                  </a:txBody>
                  <a:tcPr marL="80666" marR="80666" marT="40333" marB="40333" anchor="ctr">
                    <a:lnT w="12700" cap="flat" cmpd="sng" algn="ctr">
                      <a:solidFill>
                        <a:schemeClr val="bg1">
                          <a:lumMod val="65000"/>
                        </a:schemeClr>
                      </a:solidFill>
                      <a:prstDash val="solid"/>
                      <a:round/>
                      <a:headEnd type="none" w="med" len="med"/>
                      <a:tailEnd type="none" w="med" len="med"/>
                    </a:lnT>
                  </a:tcPr>
                </a:tc>
                <a:tc hMerge="1">
                  <a:txBody>
                    <a:bodyPr/>
                    <a:lstStyle/>
                    <a:p>
                      <a:pPr algn="ctr"/>
                      <a:endParaRPr lang="zh-TW" altLang="en-US" sz="1000" b="1" dirty="0"/>
                    </a:p>
                  </a:txBody>
                  <a:tcPr marL="80666" marR="80666" marT="40333" marB="40333" anchor="ctr">
                    <a:lnT w="12700" cap="flat" cmpd="sng" algn="ctr">
                      <a:solidFill>
                        <a:schemeClr val="bg1">
                          <a:lumMod val="65000"/>
                        </a:schemeClr>
                      </a:solidFill>
                      <a:prstDash val="solid"/>
                      <a:round/>
                      <a:headEnd type="none" w="med" len="med"/>
                      <a:tailEnd type="none" w="med" len="med"/>
                    </a:lnT>
                  </a:tcPr>
                </a:tc>
                <a:tc hMerge="1">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lang="zh-TW" altLang="en-US" sz="1400" b="1" dirty="0"/>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39994813"/>
                  </a:ext>
                </a:extLst>
              </a:tr>
              <a:tr h="287032">
                <a:tc vMerge="1">
                  <a:txBody>
                    <a:bodyPr/>
                    <a:lstStyle/>
                    <a:p>
                      <a:pPr algn="ctr"/>
                      <a:endParaRPr lang="zh-TW" altLang="en-US" sz="1400" b="1" dirty="0">
                        <a:latin typeface="+mj-ea"/>
                        <a:ea typeface="+mj-ea"/>
                      </a:endParaRPr>
                    </a:p>
                  </a:txBody>
                  <a:tcPr anchor="ctr">
                    <a:lnL w="12700" cap="flat" cmpd="sng" algn="ctr">
                      <a:solidFill>
                        <a:schemeClr val="bg1">
                          <a:lumMod val="65000"/>
                        </a:schemeClr>
                      </a:solidFill>
                      <a:prstDash val="solid"/>
                      <a:round/>
                      <a:headEnd type="none" w="med" len="med"/>
                      <a:tailEnd type="none" w="med" len="med"/>
                    </a:lnL>
                  </a:tcPr>
                </a:tc>
                <a:tc vMerge="1">
                  <a:txBody>
                    <a:bodyPr/>
                    <a:lstStyle/>
                    <a:p>
                      <a:endParaRPr lang="zh-TW" altLang="en-US"/>
                    </a:p>
                  </a:txBody>
                  <a:tcPr/>
                </a:tc>
                <a:tc vMerge="1">
                  <a:txBody>
                    <a:bodyPr/>
                    <a:lstStyle/>
                    <a:p>
                      <a:pPr algn="ctr"/>
                      <a:endParaRPr lang="zh-TW" altLang="en-US" sz="1400" b="1" dirty="0">
                        <a:latin typeface="+mj-ea"/>
                        <a:ea typeface="+mj-ea"/>
                      </a:endParaRPr>
                    </a:p>
                  </a:txBody>
                  <a:tcPr anchor="ctr"/>
                </a:tc>
                <a:tc>
                  <a:txBody>
                    <a:bodyPr/>
                    <a:lstStyle/>
                    <a:p>
                      <a:pPr algn="ctr"/>
                      <a:r>
                        <a:rPr lang="en-US" altLang="zh-TW" sz="1400" b="1" dirty="0">
                          <a:solidFill>
                            <a:schemeClr val="bg1"/>
                          </a:solidFill>
                        </a:rPr>
                        <a:t>1</a:t>
                      </a:r>
                      <a:r>
                        <a:rPr lang="zh-TW" altLang="en-US" sz="1400" b="1" dirty="0">
                          <a:solidFill>
                            <a:schemeClr val="bg1"/>
                          </a:solidFill>
                        </a:rPr>
                        <a:t>月</a:t>
                      </a:r>
                      <a:endParaRPr lang="en-US" altLang="zh-TW" sz="14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2</a:t>
                      </a:r>
                      <a:r>
                        <a:rPr lang="zh-TW" altLang="en-US" sz="1400" b="1" dirty="0">
                          <a:solidFill>
                            <a:schemeClr val="bg1"/>
                          </a:solidFill>
                        </a:rPr>
                        <a:t>月</a:t>
                      </a:r>
                      <a:endParaRPr lang="en-US" altLang="zh-TW" sz="14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3</a:t>
                      </a:r>
                      <a:r>
                        <a:rPr lang="zh-TW" altLang="en-US" sz="1400" b="1" dirty="0">
                          <a:solidFill>
                            <a:schemeClr val="bg1"/>
                          </a:solidFill>
                        </a:rPr>
                        <a:t>月</a:t>
                      </a: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4</a:t>
                      </a:r>
                      <a:r>
                        <a:rPr lang="zh-TW" altLang="en-US" sz="1400" b="1" dirty="0">
                          <a:solidFill>
                            <a:schemeClr val="bg1"/>
                          </a:solidFill>
                        </a:rPr>
                        <a:t>月</a:t>
                      </a: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5</a:t>
                      </a:r>
                      <a:r>
                        <a:rPr lang="zh-TW" altLang="en-US" sz="1400" b="1" dirty="0">
                          <a:solidFill>
                            <a:schemeClr val="bg1"/>
                          </a:solidFill>
                        </a:rPr>
                        <a:t>月</a:t>
                      </a: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6</a:t>
                      </a:r>
                      <a:r>
                        <a:rPr lang="zh-TW" altLang="en-US" sz="1400" b="1" dirty="0">
                          <a:solidFill>
                            <a:schemeClr val="bg1"/>
                          </a:solidFill>
                        </a:rPr>
                        <a:t>月</a:t>
                      </a: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altLang="zh-TW" sz="1400" b="1" dirty="0">
                          <a:solidFill>
                            <a:schemeClr val="bg1"/>
                          </a:solidFill>
                        </a:rPr>
                        <a:t>7</a:t>
                      </a:r>
                      <a:r>
                        <a:rPr lang="zh-TW" altLang="en-US" sz="1400" b="1" dirty="0">
                          <a:solidFill>
                            <a:schemeClr val="bg1"/>
                          </a:solidFill>
                        </a:rPr>
                        <a:t>月</a:t>
                      </a:r>
                      <a:r>
                        <a:rPr lang="en-US" altLang="zh-TW" sz="1400" b="1" dirty="0">
                          <a:solidFill>
                            <a:schemeClr val="bg1"/>
                          </a:solidFill>
                        </a:rPr>
                        <a:t>-12</a:t>
                      </a:r>
                      <a:r>
                        <a:rPr lang="zh-TW" altLang="en-US" sz="1400" b="1" dirty="0">
                          <a:solidFill>
                            <a:schemeClr val="bg1"/>
                          </a:solidFill>
                        </a:rPr>
                        <a:t>月</a:t>
                      </a: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03464"/>
                  </a:ext>
                </a:extLst>
              </a:tr>
              <a:tr h="271983">
                <a:tc rowSpan="8">
                  <a:txBody>
                    <a:bodyPr/>
                    <a:lstStyle/>
                    <a:p>
                      <a:pPr marL="0" marR="41275" algn="l">
                        <a:lnSpc>
                          <a:spcPts val="1900"/>
                        </a:lnSpc>
                        <a:spcAft>
                          <a:spcPts val="0"/>
                        </a:spcAft>
                      </a:pPr>
                      <a:r>
                        <a:rPr lang="zh-TW" sz="1400" kern="100" dirty="0">
                          <a:effectLst/>
                          <a:latin typeface="+mn-ea"/>
                          <a:ea typeface="+mn-ea"/>
                        </a:rPr>
                        <a:t>三、可行性驗證</a:t>
                      </a:r>
                    </a:p>
                  </a:txBody>
                  <a:tcPr marL="68580" marR="6858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0" marR="41275" lvl="0" indent="0" algn="l" defTabSz="1219110" rtl="0" eaLnBrk="1" fontAlgn="auto" latinLnBrk="0" hangingPunct="1">
                        <a:lnSpc>
                          <a:spcPts val="1900"/>
                        </a:lnSpc>
                        <a:spcBef>
                          <a:spcPts val="0"/>
                        </a:spcBef>
                        <a:spcAft>
                          <a:spcPts val="0"/>
                        </a:spcAft>
                        <a:buClrTx/>
                        <a:buSzPts val="1400"/>
                        <a:buFont typeface="新細明體" panose="02020500000000000000" pitchFamily="18" charset="-120"/>
                        <a:buNone/>
                        <a:tabLst/>
                        <a:defRPr/>
                      </a:pPr>
                      <a:r>
                        <a:rPr lang="zh-TW" altLang="en-US"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先導案例可行性驗證</a:t>
                      </a:r>
                      <a:endParaRPr lang="en-US" altLang="zh-TW"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a:lnSpc>
                          <a:spcPts val="1900"/>
                        </a:lnSpc>
                        <a:spcAft>
                          <a:spcPts val="0"/>
                        </a:spcAft>
                        <a:buSzPts val="1400"/>
                        <a:buFont typeface="新細明體" panose="02020500000000000000" pitchFamily="18" charset="-120"/>
                        <a:buChar char="•"/>
                      </a:pPr>
                      <a:r>
                        <a:rPr lang="zh-TW" sz="1400" kern="100" dirty="0">
                          <a:effectLst/>
                          <a:latin typeface="+mn-ea"/>
                          <a:ea typeface="+mn-ea"/>
                        </a:rPr>
                        <a:t>先導案例驗證結果報告</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3661570895"/>
                  </a:ext>
                </a:extLst>
              </a:tr>
              <a:tr h="271983">
                <a:tc vMerge="1">
                  <a:txBody>
                    <a:bodyPr/>
                    <a:lstStyle/>
                    <a:p>
                      <a:endParaRPr lang="zh-TW" altLang="en-US"/>
                    </a:p>
                  </a:txBody>
                  <a:tcPr/>
                </a:tc>
                <a:tc>
                  <a:txBody>
                    <a:bodyPr/>
                    <a:lstStyle/>
                    <a:p>
                      <a:pPr marL="0" marR="41275" lvl="0" indent="0" algn="l">
                        <a:lnSpc>
                          <a:spcPts val="1900"/>
                        </a:lnSpc>
                        <a:spcAft>
                          <a:spcPts val="0"/>
                        </a:spcAft>
                        <a:buSzPts val="1400"/>
                        <a:buFont typeface="新細明體" panose="02020500000000000000" pitchFamily="18" charset="-120"/>
                        <a:buNone/>
                      </a:pPr>
                      <a:r>
                        <a:rPr lang="zh-TW" altLang="en-US"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彙整調整意見</a:t>
                      </a:r>
                      <a:endParaRPr lang="zh-TW" sz="1400" kern="100" dirty="0">
                        <a:effectLst/>
                        <a:latin typeface="+mn-ea"/>
                        <a:ea typeface="+mn-ea"/>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defTabSz="1219110" rtl="0" eaLnBrk="1" fontAlgn="auto" latinLnBrk="0" hangingPunct="1">
                        <a:lnSpc>
                          <a:spcPts val="1900"/>
                        </a:lnSpc>
                        <a:spcBef>
                          <a:spcPts val="0"/>
                        </a:spcBef>
                        <a:spcAft>
                          <a:spcPts val="0"/>
                        </a:spcAft>
                        <a:buClrTx/>
                        <a:buSzPts val="1400"/>
                        <a:buFont typeface="新細明體" panose="02020500000000000000" pitchFamily="18" charset="-120"/>
                        <a:buChar char="•"/>
                        <a:tabLst/>
                        <a:defRPr/>
                      </a:pPr>
                      <a:r>
                        <a:rPr lang="zh-TW" altLang="en-US" sz="1400" kern="100" dirty="0">
                          <a:effectLst/>
                          <a:latin typeface="+mn-ea"/>
                          <a:ea typeface="+mn-ea"/>
                        </a:rPr>
                        <a:t>調整意見彙整</a:t>
                      </a:r>
                      <a:endParaRPr lang="zh-TW" altLang="zh-TW" sz="1400" kern="100" dirty="0">
                        <a:effectLst/>
                        <a:latin typeface="+mn-ea"/>
                        <a:ea typeface="+mn-ea"/>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2100879337"/>
                  </a:ext>
                </a:extLst>
              </a:tr>
              <a:tr h="452028">
                <a:tc vMerge="1">
                  <a:txBody>
                    <a:bodyPr/>
                    <a:lstStyle/>
                    <a:p>
                      <a:pPr marL="0" marR="41275" algn="l">
                        <a:lnSpc>
                          <a:spcPts val="1900"/>
                        </a:lnSpc>
                        <a:spcAft>
                          <a:spcPts val="0"/>
                        </a:spcAft>
                      </a:pPr>
                      <a:endParaRPr lang="zh-TW" sz="1400" kern="100" dirty="0">
                        <a:effectLst/>
                        <a:latin typeface="+mn-ea"/>
                        <a:ea typeface="+mn-ea"/>
                      </a:endParaRPr>
                    </a:p>
                  </a:txBody>
                  <a:tcPr marL="68580" marR="6858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0" marR="41275" lvl="0" indent="0" algn="l" defTabSz="1219110" rtl="0" eaLnBrk="1" fontAlgn="auto" latinLnBrk="0" hangingPunct="1">
                        <a:lnSpc>
                          <a:spcPts val="1900"/>
                        </a:lnSpc>
                        <a:spcBef>
                          <a:spcPts val="0"/>
                        </a:spcBef>
                        <a:spcAft>
                          <a:spcPts val="0"/>
                        </a:spcAft>
                        <a:buClrTx/>
                        <a:buSzPts val="1400"/>
                        <a:buFont typeface="新細明體" panose="02020500000000000000" pitchFamily="18" charset="-120"/>
                        <a:buNone/>
                        <a:tabLst/>
                        <a:defRPr/>
                      </a:pPr>
                      <a:r>
                        <a:rPr lang="zh-TW" altLang="en-US" sz="1400" dirty="0"/>
                        <a:t>調整</a:t>
                      </a:r>
                      <a:r>
                        <a:rPr lang="zh-TW" altLang="en-US"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範本</a:t>
                      </a:r>
                      <a:endParaRPr lang="en-US" altLang="zh-TW"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defTabSz="1219110" rtl="0" eaLnBrk="1" fontAlgn="auto" latinLnBrk="0" hangingPunct="1">
                        <a:lnSpc>
                          <a:spcPts val="1900"/>
                        </a:lnSpc>
                        <a:spcBef>
                          <a:spcPts val="0"/>
                        </a:spcBef>
                        <a:spcAft>
                          <a:spcPts val="0"/>
                        </a:spcAft>
                        <a:buClrTx/>
                        <a:buSzPts val="1400"/>
                        <a:buFont typeface="新細明體" panose="02020500000000000000" pitchFamily="18" charset="-120"/>
                        <a:buChar char="•"/>
                        <a:tabLst/>
                        <a:defRPr/>
                      </a:pPr>
                      <a:r>
                        <a:rPr lang="zh-TW" altLang="zh-TW" sz="1400" kern="100" dirty="0">
                          <a:effectLst/>
                          <a:latin typeface="+mn-ea"/>
                          <a:ea typeface="+mn-ea"/>
                        </a:rPr>
                        <a:t>委外內部作業參考規範調整建議</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683848454"/>
                  </a:ext>
                </a:extLst>
              </a:tr>
              <a:tr h="525238">
                <a:tc vMerge="1">
                  <a:txBody>
                    <a:bodyPr/>
                    <a:lstStyle/>
                    <a:p>
                      <a:pPr marL="0" marR="41275" algn="l">
                        <a:lnSpc>
                          <a:spcPts val="1900"/>
                        </a:lnSpc>
                        <a:spcAft>
                          <a:spcPts val="0"/>
                        </a:spcAft>
                      </a:pPr>
                      <a:endParaRPr lang="zh-TW" sz="1400" kern="100" dirty="0">
                        <a:effectLst/>
                        <a:latin typeface="+mn-ea"/>
                        <a:ea typeface="+mn-ea"/>
                      </a:endParaRPr>
                    </a:p>
                  </a:txBody>
                  <a:tcPr marL="68580" marR="6858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rowSpan="5">
                  <a:txBody>
                    <a:bodyPr/>
                    <a:lstStyle/>
                    <a:p>
                      <a:pPr marL="0" marR="41275" lvl="0" indent="0" algn="l">
                        <a:lnSpc>
                          <a:spcPts val="1900"/>
                        </a:lnSpc>
                        <a:spcAft>
                          <a:spcPts val="0"/>
                        </a:spcAft>
                        <a:buSzPts val="1400"/>
                        <a:buFont typeface="新細明體" panose="02020500000000000000" pitchFamily="18" charset="-120"/>
                        <a:buNone/>
                      </a:pPr>
                      <a:r>
                        <a:rPr lang="zh-TW" altLang="en-US" sz="1400" kern="100" dirty="0">
                          <a:effectLst/>
                          <a:latin typeface="+mn-ea"/>
                          <a:ea typeface="+mn-ea"/>
                        </a:rPr>
                        <a:t>範本文件定稿及翻譯</a:t>
                      </a:r>
                      <a:endParaRPr lang="zh-TW" altLang="zh-TW" sz="1400" kern="100" dirty="0">
                        <a:effectLst/>
                        <a:latin typeface="+mn-ea"/>
                        <a:ea typeface="+mn-ea"/>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a:lnSpc>
                          <a:spcPts val="1900"/>
                        </a:lnSpc>
                        <a:spcAft>
                          <a:spcPts val="0"/>
                        </a:spcAft>
                        <a:buSzPts val="1400"/>
                        <a:buFont typeface="新細明體" panose="02020500000000000000" pitchFamily="18" charset="-120"/>
                        <a:buChar char="•"/>
                      </a:pPr>
                      <a:r>
                        <a:rPr lang="zh-TW" altLang="zh-TW" sz="1400" kern="100" dirty="0">
                          <a:effectLst/>
                          <a:latin typeface="+mn-ea"/>
                          <a:ea typeface="+mn-ea"/>
                        </a:rPr>
                        <a:t>委外內部作業參考規範</a:t>
                      </a:r>
                      <a:r>
                        <a:rPr lang="en-US" altLang="zh-TW" sz="1400" kern="100" dirty="0">
                          <a:effectLst/>
                          <a:latin typeface="+mn-ea"/>
                          <a:ea typeface="+mn-ea"/>
                        </a:rPr>
                        <a:t>(</a:t>
                      </a:r>
                      <a:r>
                        <a:rPr lang="zh-TW" altLang="zh-TW" sz="1400" kern="100" dirty="0">
                          <a:effectLst/>
                          <a:latin typeface="+mn-ea"/>
                          <a:ea typeface="+mn-ea"/>
                        </a:rPr>
                        <a:t>定稿</a:t>
                      </a:r>
                      <a:r>
                        <a:rPr lang="en-US" altLang="zh-TW" sz="1400" kern="100" dirty="0">
                          <a:effectLst/>
                          <a:latin typeface="+mn-ea"/>
                          <a:ea typeface="+mn-ea"/>
                        </a:rPr>
                        <a:t>)</a:t>
                      </a:r>
                      <a:endParaRPr lang="zh-TW" altLang="zh-TW" sz="1400" kern="100" dirty="0">
                        <a:effectLst/>
                        <a:latin typeface="+mn-ea"/>
                        <a:ea typeface="+mn-ea"/>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2583495202"/>
                  </a:ext>
                </a:extLst>
              </a:tr>
              <a:tr h="687588">
                <a:tc vMerge="1">
                  <a:txBody>
                    <a:bodyPr/>
                    <a:lstStyle/>
                    <a:p>
                      <a:endParaRPr lang="zh-TW" altLang="en-US"/>
                    </a:p>
                  </a:txBody>
                  <a:tcPr/>
                </a:tc>
                <a:tc vMerge="1">
                  <a:txBody>
                    <a:bodyPr/>
                    <a:lstStyle/>
                    <a:p>
                      <a:endParaRPr lang="zh-TW" altLang="en-US"/>
                    </a:p>
                  </a:txBody>
                  <a:tcPr/>
                </a:tc>
                <a:tc>
                  <a:txBody>
                    <a:bodyPr/>
                    <a:lstStyle/>
                    <a:p>
                      <a:pPr marL="342900" marR="41275" lvl="0" indent="-342900" algn="l" defTabSz="1219110" rtl="0" eaLnBrk="1" fontAlgn="auto" latinLnBrk="0" hangingPunct="1">
                        <a:lnSpc>
                          <a:spcPts val="1900"/>
                        </a:lnSpc>
                        <a:spcBef>
                          <a:spcPts val="0"/>
                        </a:spcBef>
                        <a:spcAft>
                          <a:spcPts val="0"/>
                        </a:spcAft>
                        <a:buClrTx/>
                        <a:buSzPts val="1400"/>
                        <a:buFont typeface="新細明體" panose="02020500000000000000" pitchFamily="18" charset="-120"/>
                        <a:buChar char="•"/>
                        <a:tabLst/>
                        <a:defRPr/>
                      </a:pPr>
                      <a:r>
                        <a:rPr lang="zh-TW" altLang="zh-TW" sz="1400" kern="100" dirty="0">
                          <a:effectLst/>
                          <a:latin typeface="+mn-ea"/>
                          <a:ea typeface="+mn-ea"/>
                        </a:rPr>
                        <a:t>風險基礎方法之委外管理架構</a:t>
                      </a:r>
                      <a:r>
                        <a:rPr lang="en-US" altLang="zh-TW" sz="1400" kern="100" dirty="0">
                          <a:effectLst/>
                          <a:latin typeface="+mn-ea"/>
                          <a:ea typeface="+mn-ea"/>
                        </a:rPr>
                        <a:t>(</a:t>
                      </a:r>
                      <a:r>
                        <a:rPr lang="zh-TW" altLang="zh-TW" sz="1400" kern="100" dirty="0">
                          <a:effectLst/>
                          <a:latin typeface="+mn-ea"/>
                          <a:ea typeface="+mn-ea"/>
                        </a:rPr>
                        <a:t>定稿</a:t>
                      </a:r>
                      <a:r>
                        <a:rPr lang="en-US" altLang="zh-TW" sz="1400" kern="100" dirty="0">
                          <a:effectLst/>
                          <a:latin typeface="+mn-ea"/>
                          <a:ea typeface="+mn-ea"/>
                        </a:rPr>
                        <a:t>)</a:t>
                      </a:r>
                      <a:r>
                        <a:rPr lang="zh-TW" altLang="zh-TW" sz="1400" kern="100" dirty="0">
                          <a:effectLst/>
                          <a:latin typeface="+mn-ea"/>
                          <a:ea typeface="+mn-ea"/>
                        </a:rPr>
                        <a:t>委外契約範本</a:t>
                      </a:r>
                      <a:r>
                        <a:rPr lang="en-US" altLang="zh-TW" sz="1400" kern="100" dirty="0">
                          <a:effectLst/>
                          <a:latin typeface="+mn-ea"/>
                          <a:ea typeface="+mn-ea"/>
                        </a:rPr>
                        <a:t>(</a:t>
                      </a:r>
                      <a:r>
                        <a:rPr lang="zh-TW" altLang="zh-TW" sz="1400" kern="100" dirty="0">
                          <a:effectLst/>
                          <a:latin typeface="+mn-ea"/>
                          <a:ea typeface="+mn-ea"/>
                        </a:rPr>
                        <a:t>定稿</a:t>
                      </a:r>
                      <a:r>
                        <a:rPr lang="en-US" altLang="zh-TW" sz="1400" kern="100" dirty="0">
                          <a:effectLst/>
                          <a:latin typeface="+mn-ea"/>
                          <a:ea typeface="+mn-ea"/>
                        </a:rPr>
                        <a:t>)</a:t>
                      </a:r>
                      <a:endParaRPr lang="zh-TW" altLang="zh-TW" sz="1400" kern="100" dirty="0">
                        <a:effectLst/>
                        <a:latin typeface="+mn-ea"/>
                        <a:ea typeface="+mn-ea"/>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1941585985"/>
                  </a:ext>
                </a:extLst>
              </a:tr>
              <a:tr h="613026">
                <a:tc vMerge="1">
                  <a:txBody>
                    <a:bodyPr/>
                    <a:lstStyle/>
                    <a:p>
                      <a:endParaRPr lang="zh-TW" altLang="en-US"/>
                    </a:p>
                  </a:txBody>
                  <a:tcPr/>
                </a:tc>
                <a:tc vMerge="1">
                  <a:txBody>
                    <a:bodyPr/>
                    <a:lstStyle/>
                    <a:p>
                      <a:endParaRPr lang="zh-TW" altLang="en-US"/>
                    </a:p>
                  </a:txBody>
                  <a:tcPr/>
                </a:tc>
                <a:tc>
                  <a:txBody>
                    <a:bodyPr/>
                    <a:lstStyle/>
                    <a:p>
                      <a:pPr marL="342900" marR="41275" lvl="0" indent="-342900" algn="l" defTabSz="1219110" rtl="0" eaLnBrk="1" fontAlgn="auto" latinLnBrk="0" hangingPunct="1">
                        <a:lnSpc>
                          <a:spcPts val="1900"/>
                        </a:lnSpc>
                        <a:spcBef>
                          <a:spcPts val="0"/>
                        </a:spcBef>
                        <a:spcAft>
                          <a:spcPts val="0"/>
                        </a:spcAft>
                        <a:buClrTx/>
                        <a:buSzPts val="1400"/>
                        <a:buFont typeface="新細明體" panose="02020500000000000000" pitchFamily="18" charset="-120"/>
                        <a:buChar char="•"/>
                        <a:tabLst/>
                        <a:defRPr/>
                      </a:pPr>
                      <a:r>
                        <a:rPr lang="zh-TW" altLang="zh-TW" sz="1400" kern="100" dirty="0">
                          <a:effectLst/>
                          <a:latin typeface="+mn-ea"/>
                          <a:ea typeface="+mn-ea"/>
                        </a:rPr>
                        <a:t>必要性及適法性分析書件範本</a:t>
                      </a:r>
                      <a:r>
                        <a:rPr lang="en-US" altLang="zh-TW" sz="1400" kern="100" dirty="0">
                          <a:effectLst/>
                          <a:latin typeface="+mn-ea"/>
                          <a:ea typeface="+mn-ea"/>
                        </a:rPr>
                        <a:t>(</a:t>
                      </a:r>
                      <a:r>
                        <a:rPr lang="zh-TW" altLang="zh-TW" sz="1400" kern="100" dirty="0">
                          <a:effectLst/>
                          <a:latin typeface="+mn-ea"/>
                          <a:ea typeface="+mn-ea"/>
                        </a:rPr>
                        <a:t>定稿</a:t>
                      </a:r>
                      <a:r>
                        <a:rPr lang="en-US" altLang="zh-TW" sz="1400" kern="100" dirty="0">
                          <a:effectLst/>
                          <a:latin typeface="+mn-ea"/>
                          <a:ea typeface="+mn-ea"/>
                        </a:rPr>
                        <a:t>)</a:t>
                      </a:r>
                      <a:endParaRPr lang="zh-TW" altLang="zh-TW" sz="1400" kern="100" dirty="0">
                        <a:effectLst/>
                        <a:latin typeface="+mn-ea"/>
                        <a:ea typeface="+mn-ea"/>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209348609"/>
                  </a:ext>
                </a:extLst>
              </a:tr>
              <a:tr h="452028">
                <a:tc vMerge="1">
                  <a:txBody>
                    <a:bodyPr/>
                    <a:lstStyle/>
                    <a:p>
                      <a:endParaRPr lang="zh-TW" altLang="en-US"/>
                    </a:p>
                  </a:txBody>
                  <a:tcPr/>
                </a:tc>
                <a:tc vMerge="1">
                  <a:txBody>
                    <a:bodyPr/>
                    <a:lstStyle/>
                    <a:p>
                      <a:endParaRPr lang="zh-TW" altLang="en-US"/>
                    </a:p>
                  </a:txBody>
                  <a:tcPr/>
                </a:tc>
                <a:tc>
                  <a:txBody>
                    <a:bodyPr/>
                    <a:lstStyle/>
                    <a:p>
                      <a:pPr marL="342900" marR="41275" lvl="0" indent="-342900" algn="l" defTabSz="1219110" rtl="0" eaLnBrk="1" fontAlgn="auto" latinLnBrk="0" hangingPunct="1">
                        <a:lnSpc>
                          <a:spcPts val="1900"/>
                        </a:lnSpc>
                        <a:spcBef>
                          <a:spcPts val="0"/>
                        </a:spcBef>
                        <a:spcAft>
                          <a:spcPts val="0"/>
                        </a:spcAft>
                        <a:buClrTx/>
                        <a:buSzPts val="1400"/>
                        <a:buFont typeface="新細明體" panose="02020500000000000000" pitchFamily="18" charset="-120"/>
                        <a:buChar char="•"/>
                        <a:tabLst/>
                        <a:defRPr/>
                      </a:pPr>
                      <a:r>
                        <a:rPr lang="zh-TW" altLang="zh-TW" sz="1400" kern="100" dirty="0">
                          <a:effectLst/>
                          <a:latin typeface="+mn-ea"/>
                          <a:ea typeface="+mn-ea"/>
                        </a:rPr>
                        <a:t>作業委外計</a:t>
                      </a:r>
                      <a:r>
                        <a:rPr lang="zh-TW" altLang="en-US" sz="1400" kern="100" dirty="0">
                          <a:effectLst/>
                          <a:latin typeface="+mn-ea"/>
                          <a:ea typeface="+mn-ea"/>
                        </a:rPr>
                        <a:t>劃</a:t>
                      </a:r>
                      <a:r>
                        <a:rPr lang="zh-TW" altLang="zh-TW" sz="1400" kern="100" dirty="0">
                          <a:effectLst/>
                          <a:latin typeface="+mn-ea"/>
                          <a:ea typeface="+mn-ea"/>
                        </a:rPr>
                        <a:t>書範本</a:t>
                      </a:r>
                      <a:r>
                        <a:rPr lang="en-US" altLang="zh-TW" sz="1400" kern="100" dirty="0">
                          <a:effectLst/>
                          <a:latin typeface="+mn-ea"/>
                          <a:ea typeface="+mn-ea"/>
                        </a:rPr>
                        <a:t>(</a:t>
                      </a:r>
                      <a:r>
                        <a:rPr lang="zh-TW" altLang="zh-TW" sz="1400" kern="100" dirty="0">
                          <a:effectLst/>
                          <a:latin typeface="+mn-ea"/>
                          <a:ea typeface="+mn-ea"/>
                        </a:rPr>
                        <a:t>定稿</a:t>
                      </a:r>
                      <a:r>
                        <a:rPr lang="en-US" altLang="zh-TW" sz="1400" kern="100" dirty="0">
                          <a:effectLst/>
                          <a:latin typeface="+mn-ea"/>
                          <a:ea typeface="+mn-ea"/>
                        </a:rPr>
                        <a:t>)</a:t>
                      </a:r>
                      <a:endParaRPr lang="zh-TW" altLang="zh-TW" sz="1400" kern="100" dirty="0">
                        <a:effectLst/>
                        <a:latin typeface="+mn-ea"/>
                        <a:ea typeface="+mn-ea"/>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2657724056"/>
                  </a:ext>
                </a:extLst>
              </a:tr>
              <a:tr h="452028">
                <a:tc vMerge="1">
                  <a:txBody>
                    <a:bodyPr/>
                    <a:lstStyle/>
                    <a:p>
                      <a:pPr marL="0" marR="41275" algn="l">
                        <a:lnSpc>
                          <a:spcPts val="1900"/>
                        </a:lnSpc>
                        <a:spcAft>
                          <a:spcPts val="0"/>
                        </a:spcAft>
                      </a:pPr>
                      <a:endParaRPr lang="zh-TW" sz="1400" kern="100" dirty="0">
                        <a:effectLst/>
                        <a:latin typeface="+mn-ea"/>
                        <a:ea typeface="+mn-ea"/>
                      </a:endParaRPr>
                    </a:p>
                  </a:txBody>
                  <a:tcPr marL="68580" marR="6858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vMerge="1">
                  <a:txBody>
                    <a:bodyPr/>
                    <a:lstStyle/>
                    <a:p>
                      <a:pPr marL="0" marR="41275" lvl="0" indent="0" algn="l">
                        <a:lnSpc>
                          <a:spcPts val="1900"/>
                        </a:lnSpc>
                        <a:spcAft>
                          <a:spcPts val="0"/>
                        </a:spcAft>
                        <a:buSzPts val="1400"/>
                        <a:buFont typeface="新細明體" panose="02020500000000000000" pitchFamily="18" charset="-120"/>
                        <a:buNone/>
                      </a:pPr>
                      <a:endParaRPr lang="zh-TW" altLang="zh-TW" sz="1400" kern="100" dirty="0">
                        <a:effectLst/>
                        <a:latin typeface="+mn-ea"/>
                        <a:ea typeface="+mn-ea"/>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defTabSz="1219110" rtl="0" eaLnBrk="1" fontAlgn="auto" latinLnBrk="0" hangingPunct="1">
                        <a:lnSpc>
                          <a:spcPts val="1900"/>
                        </a:lnSpc>
                        <a:spcBef>
                          <a:spcPts val="0"/>
                        </a:spcBef>
                        <a:spcAft>
                          <a:spcPts val="0"/>
                        </a:spcAft>
                        <a:buClrTx/>
                        <a:buSzPts val="1400"/>
                        <a:buFont typeface="新細明體" panose="02020500000000000000" pitchFamily="18" charset="-120"/>
                        <a:buChar char="•"/>
                        <a:tabLst/>
                        <a:defRPr/>
                      </a:pPr>
                      <a:r>
                        <a:rPr lang="zh-TW" altLang="en-US" sz="1400" kern="100" dirty="0">
                          <a:solidFill>
                            <a:schemeClr val="dk1"/>
                          </a:solidFill>
                          <a:effectLst/>
                          <a:latin typeface="+mn-ea"/>
                          <a:ea typeface="+mn-ea"/>
                          <a:cs typeface="+mn-cs"/>
                        </a:rPr>
                        <a:t>雲端政策範本</a:t>
                      </a:r>
                      <a:r>
                        <a:rPr lang="en-US" altLang="zh-TW" sz="1400" kern="100" dirty="0">
                          <a:solidFill>
                            <a:schemeClr val="dk1"/>
                          </a:solidFill>
                          <a:effectLst/>
                          <a:latin typeface="+mn-ea"/>
                          <a:ea typeface="+mn-ea"/>
                          <a:cs typeface="+mn-cs"/>
                        </a:rPr>
                        <a:t>(</a:t>
                      </a:r>
                      <a:r>
                        <a:rPr lang="zh-TW" altLang="en-US" sz="1400" kern="100" dirty="0">
                          <a:solidFill>
                            <a:schemeClr val="dk1"/>
                          </a:solidFill>
                          <a:effectLst/>
                          <a:latin typeface="+mn-ea"/>
                          <a:ea typeface="+mn-ea"/>
                          <a:cs typeface="+mn-cs"/>
                        </a:rPr>
                        <a:t>定稿</a:t>
                      </a:r>
                      <a:r>
                        <a:rPr lang="en-US" altLang="zh-TW" sz="1400" kern="100" dirty="0">
                          <a:solidFill>
                            <a:schemeClr val="dk1"/>
                          </a:solidFill>
                          <a:effectLst/>
                          <a:latin typeface="+mn-ea"/>
                          <a:ea typeface="+mn-ea"/>
                          <a:cs typeface="+mn-cs"/>
                        </a:rPr>
                        <a:t>)</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305086567"/>
                  </a:ext>
                </a:extLst>
              </a:tr>
              <a:tr h="271983">
                <a:tc rowSpan="4">
                  <a:txBody>
                    <a:bodyPr/>
                    <a:lstStyle/>
                    <a:p>
                      <a:pPr marL="0" marR="41275" algn="l">
                        <a:lnSpc>
                          <a:spcPts val="1900"/>
                        </a:lnSpc>
                        <a:spcAft>
                          <a:spcPts val="0"/>
                        </a:spcAft>
                      </a:pPr>
                      <a:r>
                        <a:rPr lang="zh-TW" altLang="en-US" sz="1400" kern="100" dirty="0">
                          <a:effectLst/>
                          <a:latin typeface="+mn-ea"/>
                          <a:ea typeface="+mn-ea"/>
                        </a:rPr>
                        <a:t>四、參考規範說明會與諮詢</a:t>
                      </a:r>
                    </a:p>
                  </a:txBody>
                  <a:tcPr marL="68580" marR="6858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DDEFE8"/>
                    </a:solidFill>
                  </a:tcPr>
                </a:tc>
                <a:tc>
                  <a:txBody>
                    <a:bodyPr/>
                    <a:lstStyle/>
                    <a:p>
                      <a:pPr marL="0" marR="41275" lvl="0" indent="0" algn="l" defTabSz="1219110" rtl="0" eaLnBrk="1" fontAlgn="auto" latinLnBrk="0" hangingPunct="1">
                        <a:lnSpc>
                          <a:spcPts val="1900"/>
                        </a:lnSpc>
                        <a:spcBef>
                          <a:spcPts val="0"/>
                        </a:spcBef>
                        <a:spcAft>
                          <a:spcPts val="0"/>
                        </a:spcAft>
                        <a:buClrTx/>
                        <a:buSzPts val="1400"/>
                        <a:buFont typeface="新細明體" panose="02020500000000000000" pitchFamily="18" charset="-120"/>
                        <a:buNone/>
                        <a:tabLst/>
                        <a:defRPr/>
                      </a:pPr>
                      <a:r>
                        <a:rPr lang="zh-TW" altLang="en-US"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安排規範說明會議</a:t>
                      </a: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a:lnSpc>
                          <a:spcPts val="1900"/>
                        </a:lnSpc>
                        <a:spcAft>
                          <a:spcPts val="0"/>
                        </a:spcAft>
                        <a:buSzPts val="1400"/>
                        <a:buFont typeface="新細明體" panose="02020500000000000000" pitchFamily="18" charset="-120"/>
                        <a:buChar char="•"/>
                      </a:pPr>
                      <a:r>
                        <a:rPr lang="zh-TW" altLang="en-US"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規範說明會議規劃</a:t>
                      </a:r>
                      <a:endParaRPr lang="zh-TW" sz="1400" kern="100" dirty="0">
                        <a:effectLst/>
                        <a:latin typeface="+mn-ea"/>
                        <a:ea typeface="+mn-ea"/>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1126999966"/>
                  </a:ext>
                </a:extLst>
              </a:tr>
              <a:tr h="271983">
                <a:tc vMerge="1">
                  <a:txBody>
                    <a:bodyPr/>
                    <a:lstStyle/>
                    <a:p>
                      <a:pPr marL="0" marR="41275" algn="l">
                        <a:lnSpc>
                          <a:spcPts val="1900"/>
                        </a:lnSpc>
                        <a:spcAft>
                          <a:spcPts val="0"/>
                        </a:spcAft>
                      </a:pPr>
                      <a:r>
                        <a:rPr lang="zh-TW" sz="1400" kern="100" dirty="0">
                          <a:effectLst/>
                          <a:latin typeface="+mn-ea"/>
                          <a:ea typeface="+mn-ea"/>
                        </a:rPr>
                        <a:t>四、參考規範說明會</a:t>
                      </a:r>
                    </a:p>
                  </a:txBody>
                  <a:tcPr marL="68580" marR="68580" marT="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DDEFE8"/>
                    </a:solidFill>
                  </a:tcPr>
                </a:tc>
                <a:tc>
                  <a:txBody>
                    <a:bodyPr/>
                    <a:lstStyle/>
                    <a:p>
                      <a:pPr marL="0" marR="41275" lvl="0" indent="0" algn="l" defTabSz="1219110" rtl="0" eaLnBrk="1" fontAlgn="auto" latinLnBrk="0" hangingPunct="1">
                        <a:lnSpc>
                          <a:spcPts val="1900"/>
                        </a:lnSpc>
                        <a:spcBef>
                          <a:spcPts val="0"/>
                        </a:spcBef>
                        <a:spcAft>
                          <a:spcPts val="0"/>
                        </a:spcAft>
                        <a:buClrTx/>
                        <a:buSzPts val="1400"/>
                        <a:buFont typeface="新細明體" panose="02020500000000000000" pitchFamily="18" charset="-120"/>
                        <a:buNone/>
                        <a:tabLst/>
                        <a:defRPr/>
                      </a:pPr>
                      <a:r>
                        <a:rPr lang="zh-TW" altLang="en-US"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辦理說明會</a:t>
                      </a:r>
                      <a:endParaRPr lang="en-US" altLang="zh-TW"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defTabSz="1219110" rtl="0" eaLnBrk="1" fontAlgn="auto" latinLnBrk="0" hangingPunct="1">
                        <a:lnSpc>
                          <a:spcPts val="1900"/>
                        </a:lnSpc>
                        <a:spcBef>
                          <a:spcPts val="0"/>
                        </a:spcBef>
                        <a:spcAft>
                          <a:spcPts val="0"/>
                        </a:spcAft>
                        <a:buClrTx/>
                        <a:buSzPts val="1400"/>
                        <a:buFont typeface="新細明體" panose="02020500000000000000" pitchFamily="18" charset="-120"/>
                        <a:buChar char="•"/>
                        <a:tabLst/>
                        <a:defRPr/>
                      </a:pPr>
                      <a:r>
                        <a:rPr lang="zh-TW" altLang="zh-TW" sz="1400" kern="100" dirty="0">
                          <a:effectLst/>
                          <a:latin typeface="+mn-ea"/>
                          <a:ea typeface="+mn-ea"/>
                        </a:rPr>
                        <a:t>說明會會議簡報</a:t>
                      </a:r>
                      <a:endParaRPr lang="zh-TW" sz="1400" kern="100" dirty="0">
                        <a:effectLst/>
                        <a:latin typeface="+mn-ea"/>
                        <a:ea typeface="+mn-ea"/>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1184445258"/>
                  </a:ext>
                </a:extLst>
              </a:tr>
              <a:tr h="279037">
                <a:tc vMerge="1">
                  <a:txBody>
                    <a:bodyPr/>
                    <a:lstStyle/>
                    <a:p>
                      <a:endParaRPr lang="zh-TW" altLang="en-US"/>
                    </a:p>
                  </a:txBody>
                  <a:tcPr/>
                </a:tc>
                <a:tc>
                  <a:txBody>
                    <a:bodyPr/>
                    <a:lstStyle/>
                    <a:p>
                      <a:pPr algn="l" defTabSz="914400">
                        <a:defRPr/>
                      </a:pPr>
                      <a:r>
                        <a:rPr lang="zh-TW" altLang="en-US"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專線諮詢服務</a:t>
                      </a:r>
                      <a:endParaRPr lang="en-US" altLang="zh-TW"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a:lnSpc>
                          <a:spcPts val="1900"/>
                        </a:lnSpc>
                        <a:spcAft>
                          <a:spcPts val="0"/>
                        </a:spcAft>
                        <a:buSzPts val="1400"/>
                        <a:buFont typeface="新細明體" panose="02020500000000000000" pitchFamily="18" charset="-120"/>
                        <a:buChar char="•"/>
                      </a:pPr>
                      <a:r>
                        <a:rPr lang="zh-TW" altLang="en-US" sz="1400" kern="100" dirty="0">
                          <a:effectLst/>
                          <a:latin typeface="+mn-ea"/>
                          <a:ea typeface="+mn-ea"/>
                        </a:rPr>
                        <a:t>提供專線諮詢服務</a:t>
                      </a:r>
                      <a:endParaRPr lang="zh-TW" altLang="zh-TW" sz="1400" kern="100" dirty="0">
                        <a:effectLst/>
                        <a:latin typeface="+mn-ea"/>
                        <a:ea typeface="+mn-ea"/>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2546135305"/>
                  </a:ext>
                </a:extLst>
              </a:tr>
              <a:tr h="459263">
                <a:tc vMerge="1">
                  <a:txBody>
                    <a:bodyPr/>
                    <a:lstStyle/>
                    <a:p>
                      <a:pPr marL="0" marR="41275" algn="l">
                        <a:lnSpc>
                          <a:spcPts val="1900"/>
                        </a:lnSpc>
                        <a:spcAft>
                          <a:spcPts val="0"/>
                        </a:spcAft>
                      </a:pPr>
                      <a:endParaRPr lang="zh-TW" altLang="en-US" sz="1400" kern="100" dirty="0">
                        <a:effectLst/>
                        <a:latin typeface="+mn-ea"/>
                        <a:ea typeface="+mn-ea"/>
                      </a:endParaRPr>
                    </a:p>
                  </a:txBody>
                  <a:tcPr marL="68580" marR="6858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DDEFE8"/>
                    </a:solidFill>
                  </a:tcPr>
                </a:tc>
                <a:tc>
                  <a:txBody>
                    <a:bodyPr/>
                    <a:lstStyle/>
                    <a:p>
                      <a:pPr algn="l" defTabSz="914400">
                        <a:defRPr/>
                      </a:pPr>
                      <a:r>
                        <a:rPr lang="zh-TW" altLang="en-US"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相關內容修正服務</a:t>
                      </a:r>
                      <a:endParaRPr lang="en-US" altLang="zh-TW" sz="14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marL="342900" marR="41275" lvl="0" indent="-342900" algn="l">
                        <a:lnSpc>
                          <a:spcPts val="1900"/>
                        </a:lnSpc>
                        <a:spcAft>
                          <a:spcPts val="0"/>
                        </a:spcAft>
                        <a:buSzPts val="1400"/>
                        <a:buFont typeface="新細明體" panose="02020500000000000000" pitchFamily="18" charset="-120"/>
                        <a:buChar char="•"/>
                      </a:pPr>
                      <a:r>
                        <a:rPr lang="zh-TW" altLang="en-US" sz="1400" kern="100" dirty="0">
                          <a:effectLst/>
                          <a:latin typeface="+mn-ea"/>
                          <a:ea typeface="+mn-ea"/>
                        </a:rPr>
                        <a:t>提供保固調整作業規範及範本</a:t>
                      </a:r>
                      <a:endParaRPr lang="zh-TW" altLang="zh-TW" sz="1400" kern="100" dirty="0">
                        <a:effectLst/>
                        <a:latin typeface="+mn-ea"/>
                        <a:ea typeface="+mn-ea"/>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en-US" altLang="zh-TW"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tc>
                  <a:txBody>
                    <a:bodyPr/>
                    <a:lstStyle/>
                    <a:p>
                      <a:pPr algn="ctr"/>
                      <a:endParaRPr lang="zh-TW" altLang="en-US" sz="1000" b="1" dirty="0">
                        <a:solidFill>
                          <a:schemeClr val="bg1"/>
                        </a:solidFill>
                      </a:endParaRPr>
                    </a:p>
                  </a:txBody>
                  <a:tcPr marL="80666" marR="80666" marT="40333" marB="4033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FE8"/>
                    </a:solidFill>
                  </a:tcPr>
                </a:tc>
                <a:extLst>
                  <a:ext uri="{0D108BD9-81ED-4DB2-BD59-A6C34878D82A}">
                    <a16:rowId xmlns:a16="http://schemas.microsoft.com/office/drawing/2014/main" val="957677082"/>
                  </a:ext>
                </a:extLst>
              </a:tr>
            </a:tbl>
          </a:graphicData>
        </a:graphic>
      </p:graphicFrame>
      <p:sp>
        <p:nvSpPr>
          <p:cNvPr id="11" name="矩形 10">
            <a:extLst>
              <a:ext uri="{FF2B5EF4-FFF2-40B4-BE49-F238E27FC236}">
                <a16:creationId xmlns:a16="http://schemas.microsoft.com/office/drawing/2014/main" id="{9E658141-578A-3B51-A7F4-B665B8B26FF8}"/>
              </a:ext>
            </a:extLst>
          </p:cNvPr>
          <p:cNvSpPr/>
          <p:nvPr/>
        </p:nvSpPr>
        <p:spPr bwMode="gray">
          <a:xfrm>
            <a:off x="8097366" y="5160551"/>
            <a:ext cx="1989079" cy="219110"/>
          </a:xfrm>
          <a:prstGeom prst="rect">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12" name="矩形 11">
            <a:extLst>
              <a:ext uri="{FF2B5EF4-FFF2-40B4-BE49-F238E27FC236}">
                <a16:creationId xmlns:a16="http://schemas.microsoft.com/office/drawing/2014/main" id="{38E177B8-689F-6E9E-F316-48AEC5701AD9}"/>
              </a:ext>
            </a:extLst>
          </p:cNvPr>
          <p:cNvSpPr/>
          <p:nvPr/>
        </p:nvSpPr>
        <p:spPr bwMode="gray">
          <a:xfrm>
            <a:off x="7030709" y="1394273"/>
            <a:ext cx="576000" cy="268729"/>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16" name="矩形 15">
            <a:extLst>
              <a:ext uri="{FF2B5EF4-FFF2-40B4-BE49-F238E27FC236}">
                <a16:creationId xmlns:a16="http://schemas.microsoft.com/office/drawing/2014/main" id="{F08B77B1-4205-E6E1-6DF4-4E815BA33556}"/>
              </a:ext>
            </a:extLst>
          </p:cNvPr>
          <p:cNvSpPr/>
          <p:nvPr/>
        </p:nvSpPr>
        <p:spPr bwMode="gray">
          <a:xfrm>
            <a:off x="7479242" y="3765126"/>
            <a:ext cx="576000" cy="238077"/>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17" name="矩形 16">
            <a:extLst>
              <a:ext uri="{FF2B5EF4-FFF2-40B4-BE49-F238E27FC236}">
                <a16:creationId xmlns:a16="http://schemas.microsoft.com/office/drawing/2014/main" id="{9F7FC1CB-3C4F-F84F-BAE2-5DC5A7F443AE}"/>
              </a:ext>
            </a:extLst>
          </p:cNvPr>
          <p:cNvSpPr/>
          <p:nvPr/>
        </p:nvSpPr>
        <p:spPr bwMode="gray">
          <a:xfrm>
            <a:off x="7459105" y="4323878"/>
            <a:ext cx="626915" cy="238077"/>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18" name="矩形 17">
            <a:extLst>
              <a:ext uri="{FF2B5EF4-FFF2-40B4-BE49-F238E27FC236}">
                <a16:creationId xmlns:a16="http://schemas.microsoft.com/office/drawing/2014/main" id="{35C8C0E2-39A7-60AD-BF5D-1CE553BBC3F0}"/>
              </a:ext>
            </a:extLst>
          </p:cNvPr>
          <p:cNvSpPr/>
          <p:nvPr/>
        </p:nvSpPr>
        <p:spPr bwMode="gray">
          <a:xfrm>
            <a:off x="7156710" y="2024409"/>
            <a:ext cx="576000" cy="238077"/>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19" name="矩形 18">
            <a:extLst>
              <a:ext uri="{FF2B5EF4-FFF2-40B4-BE49-F238E27FC236}">
                <a16:creationId xmlns:a16="http://schemas.microsoft.com/office/drawing/2014/main" id="{231A0756-8C27-9189-4654-E3B8FAF263D1}"/>
              </a:ext>
            </a:extLst>
          </p:cNvPr>
          <p:cNvSpPr/>
          <p:nvPr/>
        </p:nvSpPr>
        <p:spPr bwMode="gray">
          <a:xfrm>
            <a:off x="7459106" y="2516144"/>
            <a:ext cx="576000" cy="238077"/>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20" name="矩形 19">
            <a:extLst>
              <a:ext uri="{FF2B5EF4-FFF2-40B4-BE49-F238E27FC236}">
                <a16:creationId xmlns:a16="http://schemas.microsoft.com/office/drawing/2014/main" id="{F5C24781-AA7C-C1EE-67C1-0FF8AE2E2C37}"/>
              </a:ext>
            </a:extLst>
          </p:cNvPr>
          <p:cNvSpPr/>
          <p:nvPr/>
        </p:nvSpPr>
        <p:spPr bwMode="gray">
          <a:xfrm>
            <a:off x="7207106" y="3115628"/>
            <a:ext cx="848136" cy="238077"/>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21" name="矩形 20">
            <a:extLst>
              <a:ext uri="{FF2B5EF4-FFF2-40B4-BE49-F238E27FC236}">
                <a16:creationId xmlns:a16="http://schemas.microsoft.com/office/drawing/2014/main" id="{2B398677-4CEC-97EB-031F-C2603984A830}"/>
              </a:ext>
            </a:extLst>
          </p:cNvPr>
          <p:cNvSpPr/>
          <p:nvPr/>
        </p:nvSpPr>
        <p:spPr bwMode="gray">
          <a:xfrm>
            <a:off x="8803758" y="6060350"/>
            <a:ext cx="2464784" cy="238077"/>
          </a:xfrm>
          <a:prstGeom prst="rect">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22" name="矩形 21">
            <a:extLst>
              <a:ext uri="{FF2B5EF4-FFF2-40B4-BE49-F238E27FC236}">
                <a16:creationId xmlns:a16="http://schemas.microsoft.com/office/drawing/2014/main" id="{7BEEBB65-77EE-6266-3D88-3AE908F1488F}"/>
              </a:ext>
            </a:extLst>
          </p:cNvPr>
          <p:cNvSpPr/>
          <p:nvPr/>
        </p:nvSpPr>
        <p:spPr bwMode="gray">
          <a:xfrm>
            <a:off x="8097366" y="5443824"/>
            <a:ext cx="1989079" cy="219109"/>
          </a:xfrm>
          <a:prstGeom prst="rect">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23" name="矩形 22">
            <a:extLst>
              <a:ext uri="{FF2B5EF4-FFF2-40B4-BE49-F238E27FC236}">
                <a16:creationId xmlns:a16="http://schemas.microsoft.com/office/drawing/2014/main" id="{2F5D563F-880F-5E18-B502-AE9D08FA38AB}"/>
              </a:ext>
            </a:extLst>
          </p:cNvPr>
          <p:cNvSpPr/>
          <p:nvPr/>
        </p:nvSpPr>
        <p:spPr bwMode="gray">
          <a:xfrm>
            <a:off x="8097366" y="5718996"/>
            <a:ext cx="2368658" cy="219109"/>
          </a:xfrm>
          <a:prstGeom prst="rect">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24" name="矩形 23">
            <a:extLst>
              <a:ext uri="{FF2B5EF4-FFF2-40B4-BE49-F238E27FC236}">
                <a16:creationId xmlns:a16="http://schemas.microsoft.com/office/drawing/2014/main" id="{66083824-DAC3-5471-CF75-F018A72AE061}"/>
              </a:ext>
            </a:extLst>
          </p:cNvPr>
          <p:cNvSpPr/>
          <p:nvPr/>
        </p:nvSpPr>
        <p:spPr bwMode="gray">
          <a:xfrm>
            <a:off x="7470451" y="4770446"/>
            <a:ext cx="626915" cy="238077"/>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25" name="文字方塊 24">
            <a:extLst>
              <a:ext uri="{FF2B5EF4-FFF2-40B4-BE49-F238E27FC236}">
                <a16:creationId xmlns:a16="http://schemas.microsoft.com/office/drawing/2014/main" id="{D66EDD8B-4A10-4ED4-3D28-49A1E00E5643}"/>
              </a:ext>
            </a:extLst>
          </p:cNvPr>
          <p:cNvSpPr txBox="1"/>
          <p:nvPr/>
        </p:nvSpPr>
        <p:spPr>
          <a:xfrm>
            <a:off x="9933368" y="508878"/>
            <a:ext cx="2258632" cy="246221"/>
          </a:xfrm>
          <a:prstGeom prst="rect">
            <a:avLst/>
          </a:prstGeom>
          <a:noFill/>
        </p:spPr>
        <p:txBody>
          <a:bodyPr wrap="none" lIns="0" tIns="0" rIns="0" bIns="0" rtlCol="0">
            <a:spAutoFit/>
          </a:bodyPr>
          <a:lstStyle/>
          <a:p>
            <a:pPr>
              <a:spcBef>
                <a:spcPts val="600"/>
              </a:spcBef>
              <a:buSzPct val="100000"/>
            </a:pPr>
            <a:r>
              <a:rPr lang="zh-TW" altLang="en-US" sz="1600" dirty="0">
                <a:solidFill>
                  <a:schemeClr val="bg1"/>
                </a:solidFill>
              </a:rPr>
              <a:t>*預計</a:t>
            </a:r>
            <a:r>
              <a:rPr lang="en-US" altLang="zh-TW" sz="1600" dirty="0">
                <a:solidFill>
                  <a:schemeClr val="bg1"/>
                </a:solidFill>
              </a:rPr>
              <a:t>8</a:t>
            </a:r>
            <a:r>
              <a:rPr lang="zh-TW" altLang="en-US" sz="1600" dirty="0">
                <a:solidFill>
                  <a:schemeClr val="bg1"/>
                </a:solidFill>
              </a:rPr>
              <a:t>月交付給主管機關</a:t>
            </a:r>
          </a:p>
        </p:txBody>
      </p:sp>
      <p:cxnSp>
        <p:nvCxnSpPr>
          <p:cNvPr id="6" name="直線接點 5">
            <a:extLst>
              <a:ext uri="{FF2B5EF4-FFF2-40B4-BE49-F238E27FC236}">
                <a16:creationId xmlns:a16="http://schemas.microsoft.com/office/drawing/2014/main" id="{B457953E-664E-60FF-765C-1D367EDEA881}"/>
              </a:ext>
            </a:extLst>
          </p:cNvPr>
          <p:cNvCxnSpPr>
            <a:cxnSpLocks/>
          </p:cNvCxnSpPr>
          <p:nvPr/>
        </p:nvCxnSpPr>
        <p:spPr>
          <a:xfrm>
            <a:off x="8512899" y="627321"/>
            <a:ext cx="36000" cy="5720316"/>
          </a:xfrm>
          <a:prstGeom prst="line">
            <a:avLst/>
          </a:prstGeom>
          <a:ln w="34925">
            <a:solidFill>
              <a:srgbClr val="DA291C"/>
            </a:solidFill>
            <a:prstDash val="dash"/>
          </a:ln>
        </p:spPr>
        <p:style>
          <a:lnRef idx="1">
            <a:schemeClr val="accent1"/>
          </a:lnRef>
          <a:fillRef idx="0">
            <a:schemeClr val="accent1"/>
          </a:fillRef>
          <a:effectRef idx="0">
            <a:schemeClr val="accent1"/>
          </a:effectRef>
          <a:fontRef idx="minor">
            <a:schemeClr val="tx1"/>
          </a:fontRef>
        </p:style>
      </p:cxnSp>
      <p:sp>
        <p:nvSpPr>
          <p:cNvPr id="7" name="文字方塊 6">
            <a:extLst>
              <a:ext uri="{FF2B5EF4-FFF2-40B4-BE49-F238E27FC236}">
                <a16:creationId xmlns:a16="http://schemas.microsoft.com/office/drawing/2014/main" id="{AA5A66E8-7F3C-FDC7-40F7-B4A0E6890063}"/>
              </a:ext>
            </a:extLst>
          </p:cNvPr>
          <p:cNvSpPr txBox="1"/>
          <p:nvPr/>
        </p:nvSpPr>
        <p:spPr>
          <a:xfrm>
            <a:off x="8256350" y="243363"/>
            <a:ext cx="585097" cy="369332"/>
          </a:xfrm>
          <a:prstGeom prst="rect">
            <a:avLst/>
          </a:prstGeom>
          <a:noFill/>
        </p:spPr>
        <p:txBody>
          <a:bodyPr wrap="none" lIns="0" tIns="0" rIns="0" bIns="0" rtlCol="0">
            <a:spAutoFit/>
          </a:bodyPr>
          <a:lstStyle/>
          <a:p>
            <a:pPr>
              <a:spcBef>
                <a:spcPts val="600"/>
              </a:spcBef>
              <a:buSzPct val="100000"/>
            </a:pPr>
            <a:r>
              <a:rPr lang="en-US" altLang="zh-TW" dirty="0">
                <a:solidFill>
                  <a:srgbClr val="FF0000"/>
                </a:solidFill>
              </a:rPr>
              <a:t>4/19</a:t>
            </a:r>
            <a:endParaRPr lang="zh-TW" altLang="en-US" dirty="0">
              <a:solidFill>
                <a:srgbClr val="FF0000"/>
              </a:solidFill>
            </a:endParaRPr>
          </a:p>
        </p:txBody>
      </p:sp>
    </p:spTree>
    <p:extLst>
      <p:ext uri="{BB962C8B-B14F-4D97-AF65-F5344CB8AC3E}">
        <p14:creationId xmlns:p14="http://schemas.microsoft.com/office/powerpoint/2010/main" val="1606314092"/>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a:extLst>
              <a:ext uri="{FF2B5EF4-FFF2-40B4-BE49-F238E27FC236}">
                <a16:creationId xmlns:a16="http://schemas.microsoft.com/office/drawing/2014/main" id="{5082B48D-CD84-E2D2-78F1-22D1867BC77B}"/>
              </a:ext>
            </a:extLst>
          </p:cNvPr>
          <p:cNvSpPr>
            <a:spLocks noGrp="1"/>
          </p:cNvSpPr>
          <p:nvPr>
            <p:ph type="title"/>
          </p:nvPr>
        </p:nvSpPr>
        <p:spPr/>
        <p:txBody>
          <a:bodyPr/>
          <a:lstStyle/>
          <a:p>
            <a:pPr>
              <a:lnSpc>
                <a:spcPct val="150000"/>
              </a:lnSpc>
            </a:pPr>
            <a:r>
              <a:rPr lang="zh-TW" altLang="en-US" sz="3700" b="1" dirty="0">
                <a:solidFill>
                  <a:schemeClr val="bg1"/>
                </a:solidFill>
              </a:rPr>
              <a:t>範本說明</a:t>
            </a:r>
            <a:endParaRPr lang="en-US" altLang="zh-TW" sz="3700" b="1" dirty="0">
              <a:solidFill>
                <a:schemeClr val="bg1"/>
              </a:solidFill>
            </a:endParaRPr>
          </a:p>
        </p:txBody>
      </p:sp>
      <p:sp>
        <p:nvSpPr>
          <p:cNvPr id="6" name="文字版面配置區 5">
            <a:extLst>
              <a:ext uri="{FF2B5EF4-FFF2-40B4-BE49-F238E27FC236}">
                <a16:creationId xmlns:a16="http://schemas.microsoft.com/office/drawing/2014/main" id="{367FF858-04EC-F5D5-04FA-017070543DD5}"/>
              </a:ext>
            </a:extLst>
          </p:cNvPr>
          <p:cNvSpPr>
            <a:spLocks noGrp="1"/>
          </p:cNvSpPr>
          <p:nvPr>
            <p:ph type="body" idx="1"/>
          </p:nvPr>
        </p:nvSpPr>
        <p:spPr/>
        <p:txBody>
          <a:bodyPr/>
          <a:lstStyle/>
          <a:p>
            <a:endParaRPr lang="zh-TW" altLang="en-US" dirty="0"/>
          </a:p>
        </p:txBody>
      </p:sp>
    </p:spTree>
    <p:extLst>
      <p:ext uri="{BB962C8B-B14F-4D97-AF65-F5344CB8AC3E}">
        <p14:creationId xmlns:p14="http://schemas.microsoft.com/office/powerpoint/2010/main" val="349499389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551F7BA-9075-7F90-8789-DA086290DD2A}"/>
              </a:ext>
            </a:extLst>
          </p:cNvPr>
          <p:cNvSpPr>
            <a:spLocks noGrp="1"/>
          </p:cNvSpPr>
          <p:nvPr>
            <p:ph type="title"/>
          </p:nvPr>
        </p:nvSpPr>
        <p:spPr/>
        <p:txBody>
          <a:bodyPr/>
          <a:lstStyle/>
          <a:p>
            <a:r>
              <a:rPr lang="zh-TW" altLang="en-US" b="1" dirty="0"/>
              <a:t>範本提供樣式說明</a:t>
            </a:r>
          </a:p>
        </p:txBody>
      </p:sp>
      <p:sp>
        <p:nvSpPr>
          <p:cNvPr id="7" name="矩形: 圓角 6">
            <a:extLst>
              <a:ext uri="{FF2B5EF4-FFF2-40B4-BE49-F238E27FC236}">
                <a16:creationId xmlns:a16="http://schemas.microsoft.com/office/drawing/2014/main" id="{1FFD815A-AE01-D3ED-39EF-5131E6BF3B75}"/>
              </a:ext>
            </a:extLst>
          </p:cNvPr>
          <p:cNvSpPr/>
          <p:nvPr/>
        </p:nvSpPr>
        <p:spPr bwMode="gray">
          <a:xfrm>
            <a:off x="5198583" y="986368"/>
            <a:ext cx="1794834" cy="1063255"/>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rPr>
              <a:t>範本說明手冊</a:t>
            </a:r>
          </a:p>
        </p:txBody>
      </p:sp>
      <p:sp>
        <p:nvSpPr>
          <p:cNvPr id="17" name="矩形: 圓角 16">
            <a:extLst>
              <a:ext uri="{FF2B5EF4-FFF2-40B4-BE49-F238E27FC236}">
                <a16:creationId xmlns:a16="http://schemas.microsoft.com/office/drawing/2014/main" id="{A5FA5334-6683-940D-74FF-F1F1E086ABBD}"/>
              </a:ext>
            </a:extLst>
          </p:cNvPr>
          <p:cNvSpPr/>
          <p:nvPr/>
        </p:nvSpPr>
        <p:spPr bwMode="gray">
          <a:xfrm>
            <a:off x="469901" y="2732568"/>
            <a:ext cx="1794833" cy="978196"/>
          </a:xfrm>
          <a:prstGeom prst="roundRect">
            <a:avLst/>
          </a:prstGeom>
          <a:solidFill>
            <a:srgbClr val="046A38"/>
          </a:solidFill>
          <a:ln w="19050" algn="ctr">
            <a:noFill/>
            <a:miter lim="800000"/>
            <a:headEnd/>
            <a:tailEnd/>
          </a:ln>
        </p:spPr>
        <p:txBody>
          <a:bodyPr wrap="square" lIns="88900" tIns="88900" rIns="88900" bIns="88900" rtlCol="0" anchor="ctr" anchorCtr="0"/>
          <a:lstStyle/>
          <a:p>
            <a:pPr lvl="0" algn="ctr"/>
            <a:r>
              <a:rPr lang="zh-TW" altLang="en-US" sz="1600" b="1" dirty="0">
                <a:solidFill>
                  <a:schemeClr val="bg1"/>
                </a:solidFill>
                <a:latin typeface="+mj-ea"/>
                <a:ea typeface="+mj-ea"/>
              </a:rPr>
              <a:t>附件一</a:t>
            </a:r>
            <a:endParaRPr lang="en-US" altLang="zh-TW" sz="1600" b="1" dirty="0">
              <a:solidFill>
                <a:schemeClr val="bg1"/>
              </a:solidFill>
              <a:latin typeface="+mj-ea"/>
              <a:ea typeface="+mj-ea"/>
            </a:endParaRPr>
          </a:p>
          <a:p>
            <a:pPr lvl="0" algn="ctr"/>
            <a:r>
              <a:rPr lang="zh-TW" altLang="en-US" sz="1600" b="1" dirty="0">
                <a:solidFill>
                  <a:schemeClr val="bg1"/>
                </a:solidFill>
                <a:effectLst/>
                <a:latin typeface="+mj-ea"/>
                <a:ea typeface="+mj-ea"/>
              </a:rPr>
              <a:t>委外內部作業參考規範</a:t>
            </a:r>
            <a:endParaRPr lang="zh-TW" altLang="zh-TW" sz="1600" b="1" dirty="0">
              <a:solidFill>
                <a:schemeClr val="bg1"/>
              </a:solidFill>
              <a:effectLst/>
              <a:latin typeface="+mj-ea"/>
              <a:ea typeface="+mj-ea"/>
            </a:endParaRPr>
          </a:p>
        </p:txBody>
      </p:sp>
      <p:sp>
        <p:nvSpPr>
          <p:cNvPr id="18" name="矩形: 圓角 17">
            <a:extLst>
              <a:ext uri="{FF2B5EF4-FFF2-40B4-BE49-F238E27FC236}">
                <a16:creationId xmlns:a16="http://schemas.microsoft.com/office/drawing/2014/main" id="{C756DD31-4B55-AA0E-11FE-8B740C67B2DC}"/>
              </a:ext>
            </a:extLst>
          </p:cNvPr>
          <p:cNvSpPr/>
          <p:nvPr/>
        </p:nvSpPr>
        <p:spPr bwMode="gray">
          <a:xfrm>
            <a:off x="2412677" y="2732568"/>
            <a:ext cx="1794833" cy="978196"/>
          </a:xfrm>
          <a:prstGeom prst="roundRect">
            <a:avLst/>
          </a:prstGeom>
          <a:solidFill>
            <a:srgbClr val="046A38"/>
          </a:solidFill>
          <a:ln w="19050" algn="ctr">
            <a:noFill/>
            <a:miter lim="800000"/>
            <a:headEnd/>
            <a:tailEnd/>
          </a:ln>
        </p:spPr>
        <p:txBody>
          <a:bodyPr wrap="square" lIns="88900" tIns="88900" rIns="88900" bIns="88900" rtlCol="0" anchor="ctr" anchorCtr="0"/>
          <a:lstStyle/>
          <a:p>
            <a:pPr lvl="0" algn="ctr"/>
            <a:r>
              <a:rPr lang="zh-TW" altLang="en-US" sz="1600" b="1" dirty="0">
                <a:solidFill>
                  <a:schemeClr val="bg1"/>
                </a:solidFill>
                <a:effectLst/>
                <a:latin typeface="+mj-ea"/>
                <a:ea typeface="+mj-ea"/>
              </a:rPr>
              <a:t>附件二</a:t>
            </a:r>
            <a:endParaRPr lang="en-US" altLang="zh-TW" sz="1600" b="1" dirty="0">
              <a:solidFill>
                <a:schemeClr val="bg1"/>
              </a:solidFill>
              <a:effectLst/>
              <a:latin typeface="+mj-ea"/>
              <a:ea typeface="+mj-ea"/>
            </a:endParaRPr>
          </a:p>
          <a:p>
            <a:pPr lvl="0" algn="ctr"/>
            <a:r>
              <a:rPr lang="zh-TW" altLang="en-US" sz="1600" b="1" dirty="0">
                <a:solidFill>
                  <a:schemeClr val="bg1"/>
                </a:solidFill>
                <a:effectLst/>
                <a:latin typeface="+mj-ea"/>
                <a:ea typeface="+mj-ea"/>
              </a:rPr>
              <a:t>重大性評估表</a:t>
            </a:r>
            <a:endParaRPr lang="zh-TW" altLang="zh-TW" sz="1600" b="1" dirty="0">
              <a:solidFill>
                <a:schemeClr val="bg1"/>
              </a:solidFill>
              <a:effectLst/>
              <a:latin typeface="+mj-ea"/>
              <a:ea typeface="+mj-ea"/>
            </a:endParaRPr>
          </a:p>
        </p:txBody>
      </p:sp>
      <p:sp>
        <p:nvSpPr>
          <p:cNvPr id="19" name="矩形: 圓角 18">
            <a:extLst>
              <a:ext uri="{FF2B5EF4-FFF2-40B4-BE49-F238E27FC236}">
                <a16:creationId xmlns:a16="http://schemas.microsoft.com/office/drawing/2014/main" id="{528C299B-2E22-D351-A1E6-F1D4E9DBAB90}"/>
              </a:ext>
            </a:extLst>
          </p:cNvPr>
          <p:cNvSpPr/>
          <p:nvPr/>
        </p:nvSpPr>
        <p:spPr bwMode="gray">
          <a:xfrm>
            <a:off x="4355451" y="2732567"/>
            <a:ext cx="1794833" cy="978196"/>
          </a:xfrm>
          <a:prstGeom prst="roundRect">
            <a:avLst/>
          </a:prstGeom>
          <a:solidFill>
            <a:srgbClr val="046A38"/>
          </a:solidFill>
          <a:ln w="19050" algn="ctr">
            <a:noFill/>
            <a:miter lim="800000"/>
            <a:headEnd/>
            <a:tailEnd/>
          </a:ln>
        </p:spPr>
        <p:txBody>
          <a:bodyPr wrap="square" lIns="88900" tIns="88900" rIns="88900" bIns="88900" rtlCol="0" anchor="ctr" anchorCtr="0"/>
          <a:lstStyle/>
          <a:p>
            <a:pPr lvl="0" algn="ctr"/>
            <a:r>
              <a:rPr lang="zh-TW" altLang="en-US" sz="1600" b="1" dirty="0">
                <a:solidFill>
                  <a:schemeClr val="bg1"/>
                </a:solidFill>
                <a:effectLst/>
                <a:latin typeface="+mj-ea"/>
                <a:ea typeface="+mj-ea"/>
              </a:rPr>
              <a:t>附件五</a:t>
            </a:r>
            <a:endParaRPr lang="en-US" altLang="zh-TW" sz="1600" b="1" dirty="0">
              <a:solidFill>
                <a:schemeClr val="bg1"/>
              </a:solidFill>
              <a:effectLst/>
              <a:latin typeface="+mj-ea"/>
              <a:ea typeface="+mj-ea"/>
            </a:endParaRPr>
          </a:p>
          <a:p>
            <a:pPr lvl="0" algn="ctr"/>
            <a:r>
              <a:rPr lang="zh-TW" altLang="en-US" sz="1600" b="1" dirty="0">
                <a:solidFill>
                  <a:schemeClr val="bg1"/>
                </a:solidFill>
                <a:effectLst/>
                <a:latin typeface="+mj-ea"/>
                <a:ea typeface="+mj-ea"/>
              </a:rPr>
              <a:t>委外契約檢核</a:t>
            </a:r>
            <a:endParaRPr lang="zh-TW" altLang="zh-TW" sz="1600" b="1" dirty="0">
              <a:solidFill>
                <a:schemeClr val="bg1"/>
              </a:solidFill>
              <a:effectLst/>
              <a:latin typeface="+mj-ea"/>
              <a:ea typeface="+mj-ea"/>
            </a:endParaRPr>
          </a:p>
        </p:txBody>
      </p:sp>
      <p:sp>
        <p:nvSpPr>
          <p:cNvPr id="20" name="矩形: 圓角 19">
            <a:extLst>
              <a:ext uri="{FF2B5EF4-FFF2-40B4-BE49-F238E27FC236}">
                <a16:creationId xmlns:a16="http://schemas.microsoft.com/office/drawing/2014/main" id="{5094C6CA-53BD-3FC8-F9E0-0284A7FBDF75}"/>
              </a:ext>
            </a:extLst>
          </p:cNvPr>
          <p:cNvSpPr/>
          <p:nvPr/>
        </p:nvSpPr>
        <p:spPr bwMode="gray">
          <a:xfrm>
            <a:off x="6298227" y="2732567"/>
            <a:ext cx="1794833" cy="978196"/>
          </a:xfrm>
          <a:prstGeom prst="roundRect">
            <a:avLst/>
          </a:prstGeom>
          <a:solidFill>
            <a:srgbClr val="046A38"/>
          </a:solidFill>
          <a:ln w="19050" algn="ctr">
            <a:noFill/>
            <a:miter lim="800000"/>
            <a:headEnd/>
            <a:tailEnd/>
          </a:ln>
        </p:spPr>
        <p:txBody>
          <a:bodyPr wrap="square" lIns="88900" tIns="88900" rIns="88900" bIns="88900" rtlCol="0" anchor="ctr" anchorCtr="0"/>
          <a:lstStyle/>
          <a:p>
            <a:pPr lvl="0" algn="ctr"/>
            <a:r>
              <a:rPr lang="zh-TW" altLang="en-US" sz="1600" b="1" dirty="0">
                <a:solidFill>
                  <a:schemeClr val="bg1"/>
                </a:solidFill>
                <a:effectLst/>
                <a:latin typeface="+mj-ea"/>
                <a:ea typeface="+mj-ea"/>
              </a:rPr>
              <a:t>附件六</a:t>
            </a:r>
            <a:endParaRPr lang="en-US" altLang="zh-TW" sz="1600" b="1" dirty="0">
              <a:solidFill>
                <a:schemeClr val="bg1"/>
              </a:solidFill>
              <a:effectLst/>
              <a:latin typeface="+mj-ea"/>
              <a:ea typeface="+mj-ea"/>
            </a:endParaRPr>
          </a:p>
          <a:p>
            <a:pPr lvl="0" algn="ctr"/>
            <a:r>
              <a:rPr lang="zh-TW" altLang="en-US" sz="1600" b="1" dirty="0">
                <a:solidFill>
                  <a:schemeClr val="bg1"/>
                </a:solidFill>
                <a:effectLst/>
                <a:latin typeface="+mj-ea"/>
                <a:ea typeface="+mj-ea"/>
              </a:rPr>
              <a:t>必要性與適法性分析</a:t>
            </a:r>
            <a:endParaRPr lang="zh-TW" altLang="zh-TW" sz="1600" b="1" dirty="0">
              <a:solidFill>
                <a:schemeClr val="bg1"/>
              </a:solidFill>
              <a:effectLst/>
              <a:latin typeface="+mj-ea"/>
              <a:ea typeface="+mj-ea"/>
            </a:endParaRPr>
          </a:p>
        </p:txBody>
      </p:sp>
      <p:sp>
        <p:nvSpPr>
          <p:cNvPr id="21" name="矩形: 圓角 20">
            <a:extLst>
              <a:ext uri="{FF2B5EF4-FFF2-40B4-BE49-F238E27FC236}">
                <a16:creationId xmlns:a16="http://schemas.microsoft.com/office/drawing/2014/main" id="{E87B03DF-C478-106A-6048-671F94C3B377}"/>
              </a:ext>
            </a:extLst>
          </p:cNvPr>
          <p:cNvSpPr/>
          <p:nvPr/>
        </p:nvSpPr>
        <p:spPr bwMode="gray">
          <a:xfrm>
            <a:off x="8241001" y="2732567"/>
            <a:ext cx="1794833" cy="978196"/>
          </a:xfrm>
          <a:prstGeom prst="roundRect">
            <a:avLst/>
          </a:prstGeom>
          <a:solidFill>
            <a:srgbClr val="046A38"/>
          </a:solidFill>
          <a:ln w="19050" algn="ctr">
            <a:noFill/>
            <a:miter lim="800000"/>
            <a:headEnd/>
            <a:tailEnd/>
          </a:ln>
        </p:spPr>
        <p:txBody>
          <a:bodyPr wrap="square" lIns="88900" tIns="88900" rIns="88900" bIns="88900" rtlCol="0" anchor="ctr" anchorCtr="0"/>
          <a:lstStyle/>
          <a:p>
            <a:pPr lvl="0" algn="ctr"/>
            <a:r>
              <a:rPr lang="zh-TW" altLang="en-US" sz="1600" b="1" dirty="0">
                <a:solidFill>
                  <a:schemeClr val="bg1"/>
                </a:solidFill>
                <a:effectLst/>
                <a:latin typeface="+mj-ea"/>
                <a:ea typeface="+mj-ea"/>
              </a:rPr>
              <a:t>附件七</a:t>
            </a:r>
            <a:endParaRPr lang="en-US" altLang="zh-TW" sz="1600" b="1" dirty="0">
              <a:solidFill>
                <a:schemeClr val="bg1"/>
              </a:solidFill>
              <a:effectLst/>
              <a:latin typeface="+mj-ea"/>
              <a:ea typeface="+mj-ea"/>
            </a:endParaRPr>
          </a:p>
          <a:p>
            <a:pPr lvl="0" algn="ctr"/>
            <a:r>
              <a:rPr lang="zh-TW" altLang="en-US" sz="1600" b="1" dirty="0">
                <a:solidFill>
                  <a:schemeClr val="bg1"/>
                </a:solidFill>
                <a:effectLst/>
                <a:latin typeface="+mj-ea"/>
                <a:ea typeface="+mj-ea"/>
              </a:rPr>
              <a:t>作業委外計劃書</a:t>
            </a:r>
            <a:endParaRPr lang="zh-TW" altLang="zh-TW" sz="1600" b="1" dirty="0">
              <a:solidFill>
                <a:schemeClr val="bg1"/>
              </a:solidFill>
              <a:effectLst/>
              <a:latin typeface="+mj-ea"/>
              <a:ea typeface="+mj-ea"/>
            </a:endParaRPr>
          </a:p>
        </p:txBody>
      </p:sp>
      <p:sp>
        <p:nvSpPr>
          <p:cNvPr id="22" name="矩形: 圓角 21">
            <a:extLst>
              <a:ext uri="{FF2B5EF4-FFF2-40B4-BE49-F238E27FC236}">
                <a16:creationId xmlns:a16="http://schemas.microsoft.com/office/drawing/2014/main" id="{50ACB90C-C971-F976-757A-63783C7DA843}"/>
              </a:ext>
            </a:extLst>
          </p:cNvPr>
          <p:cNvSpPr/>
          <p:nvPr/>
        </p:nvSpPr>
        <p:spPr bwMode="gray">
          <a:xfrm>
            <a:off x="10182980" y="2732567"/>
            <a:ext cx="1794833" cy="978196"/>
          </a:xfrm>
          <a:prstGeom prst="roundRect">
            <a:avLst/>
          </a:prstGeom>
          <a:solidFill>
            <a:srgbClr val="046A38"/>
          </a:solidFill>
          <a:ln w="19050" algn="ctr">
            <a:noFill/>
            <a:miter lim="800000"/>
            <a:headEnd/>
            <a:tailEnd/>
          </a:ln>
        </p:spPr>
        <p:txBody>
          <a:bodyPr wrap="square" lIns="88900" tIns="88900" rIns="88900" bIns="88900" rtlCol="0" anchor="ctr" anchorCtr="0"/>
          <a:lstStyle/>
          <a:p>
            <a:pPr lvl="0" algn="ctr"/>
            <a:r>
              <a:rPr lang="zh-TW" altLang="en-US" sz="1600" b="1" dirty="0">
                <a:solidFill>
                  <a:schemeClr val="bg1"/>
                </a:solidFill>
                <a:effectLst/>
                <a:latin typeface="+mj-ea"/>
                <a:ea typeface="+mj-ea"/>
              </a:rPr>
              <a:t>附件八</a:t>
            </a:r>
            <a:endParaRPr lang="en-US" altLang="zh-TW" sz="1600" b="1" dirty="0">
              <a:solidFill>
                <a:schemeClr val="bg1"/>
              </a:solidFill>
              <a:effectLst/>
              <a:latin typeface="+mj-ea"/>
              <a:ea typeface="+mj-ea"/>
            </a:endParaRPr>
          </a:p>
          <a:p>
            <a:pPr lvl="0" algn="ctr"/>
            <a:r>
              <a:rPr lang="zh-TW" altLang="en-US" sz="1600" b="1" dirty="0">
                <a:solidFill>
                  <a:schemeClr val="bg1"/>
                </a:solidFill>
                <a:effectLst/>
                <a:latin typeface="+mj-ea"/>
                <a:ea typeface="+mj-ea"/>
              </a:rPr>
              <a:t>雲端政策</a:t>
            </a:r>
            <a:endParaRPr lang="zh-TW" altLang="zh-TW" sz="1600" b="1" dirty="0">
              <a:solidFill>
                <a:schemeClr val="bg1"/>
              </a:solidFill>
              <a:effectLst/>
              <a:latin typeface="+mj-ea"/>
              <a:ea typeface="+mj-ea"/>
            </a:endParaRPr>
          </a:p>
        </p:txBody>
      </p:sp>
      <p:cxnSp>
        <p:nvCxnSpPr>
          <p:cNvPr id="11" name="直線接點 10">
            <a:extLst>
              <a:ext uri="{FF2B5EF4-FFF2-40B4-BE49-F238E27FC236}">
                <a16:creationId xmlns:a16="http://schemas.microsoft.com/office/drawing/2014/main" id="{40EA0107-4A84-9B3D-E45B-FB1F9358E9FC}"/>
              </a:ext>
            </a:extLst>
          </p:cNvPr>
          <p:cNvCxnSpPr>
            <a:cxnSpLocks/>
            <a:stCxn id="7" idx="2"/>
          </p:cNvCxnSpPr>
          <p:nvPr/>
        </p:nvCxnSpPr>
        <p:spPr>
          <a:xfrm>
            <a:off x="6096000" y="2049623"/>
            <a:ext cx="0" cy="38277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直線接點 12">
            <a:extLst>
              <a:ext uri="{FF2B5EF4-FFF2-40B4-BE49-F238E27FC236}">
                <a16:creationId xmlns:a16="http://schemas.microsoft.com/office/drawing/2014/main" id="{06BAB880-A4A3-EECE-2505-9FC204B5E8AF}"/>
              </a:ext>
            </a:extLst>
          </p:cNvPr>
          <p:cNvCxnSpPr>
            <a:cxnSpLocks/>
          </p:cNvCxnSpPr>
          <p:nvPr/>
        </p:nvCxnSpPr>
        <p:spPr>
          <a:xfrm>
            <a:off x="1389320" y="2432394"/>
            <a:ext cx="0" cy="30017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線接點 14">
            <a:extLst>
              <a:ext uri="{FF2B5EF4-FFF2-40B4-BE49-F238E27FC236}">
                <a16:creationId xmlns:a16="http://schemas.microsoft.com/office/drawing/2014/main" id="{7D759027-E86F-EBD1-EFDE-3A7674413DE4}"/>
              </a:ext>
            </a:extLst>
          </p:cNvPr>
          <p:cNvCxnSpPr>
            <a:cxnSpLocks/>
          </p:cNvCxnSpPr>
          <p:nvPr/>
        </p:nvCxnSpPr>
        <p:spPr>
          <a:xfrm>
            <a:off x="3292549" y="2432394"/>
            <a:ext cx="0" cy="30017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直線接點 22">
            <a:extLst>
              <a:ext uri="{FF2B5EF4-FFF2-40B4-BE49-F238E27FC236}">
                <a16:creationId xmlns:a16="http://schemas.microsoft.com/office/drawing/2014/main" id="{9AD25D6E-C503-998A-5B46-56B05CB5BDDA}"/>
              </a:ext>
            </a:extLst>
          </p:cNvPr>
          <p:cNvCxnSpPr>
            <a:cxnSpLocks/>
          </p:cNvCxnSpPr>
          <p:nvPr/>
        </p:nvCxnSpPr>
        <p:spPr>
          <a:xfrm>
            <a:off x="5195039" y="2432394"/>
            <a:ext cx="0" cy="30017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直線接點 23">
            <a:extLst>
              <a:ext uri="{FF2B5EF4-FFF2-40B4-BE49-F238E27FC236}">
                <a16:creationId xmlns:a16="http://schemas.microsoft.com/office/drawing/2014/main" id="{C151C52F-7A68-5C65-23D7-209DD681C670}"/>
              </a:ext>
            </a:extLst>
          </p:cNvPr>
          <p:cNvCxnSpPr>
            <a:cxnSpLocks/>
          </p:cNvCxnSpPr>
          <p:nvPr/>
        </p:nvCxnSpPr>
        <p:spPr>
          <a:xfrm>
            <a:off x="7194697" y="2432394"/>
            <a:ext cx="0" cy="30017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直線接點 24">
            <a:extLst>
              <a:ext uri="{FF2B5EF4-FFF2-40B4-BE49-F238E27FC236}">
                <a16:creationId xmlns:a16="http://schemas.microsoft.com/office/drawing/2014/main" id="{E687F974-512C-391F-E2CD-B44BA5B2F773}"/>
              </a:ext>
            </a:extLst>
          </p:cNvPr>
          <p:cNvCxnSpPr>
            <a:cxnSpLocks/>
          </p:cNvCxnSpPr>
          <p:nvPr/>
        </p:nvCxnSpPr>
        <p:spPr>
          <a:xfrm>
            <a:off x="9097926" y="2432394"/>
            <a:ext cx="0" cy="30017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直線接點 26">
            <a:extLst>
              <a:ext uri="{FF2B5EF4-FFF2-40B4-BE49-F238E27FC236}">
                <a16:creationId xmlns:a16="http://schemas.microsoft.com/office/drawing/2014/main" id="{26B6F97C-9E00-3246-DD7B-22CF69C7D11E}"/>
              </a:ext>
            </a:extLst>
          </p:cNvPr>
          <p:cNvCxnSpPr>
            <a:cxnSpLocks/>
          </p:cNvCxnSpPr>
          <p:nvPr/>
        </p:nvCxnSpPr>
        <p:spPr>
          <a:xfrm>
            <a:off x="11075581" y="2432394"/>
            <a:ext cx="0" cy="30017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直線接點 28">
            <a:extLst>
              <a:ext uri="{FF2B5EF4-FFF2-40B4-BE49-F238E27FC236}">
                <a16:creationId xmlns:a16="http://schemas.microsoft.com/office/drawing/2014/main" id="{ED61BCB8-CCB5-54FE-D125-C7F8C647F49B}"/>
              </a:ext>
            </a:extLst>
          </p:cNvPr>
          <p:cNvCxnSpPr/>
          <p:nvPr/>
        </p:nvCxnSpPr>
        <p:spPr>
          <a:xfrm>
            <a:off x="1389320" y="2432394"/>
            <a:ext cx="968626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矩形: 圓角 30">
            <a:extLst>
              <a:ext uri="{FF2B5EF4-FFF2-40B4-BE49-F238E27FC236}">
                <a16:creationId xmlns:a16="http://schemas.microsoft.com/office/drawing/2014/main" id="{AD03C985-FECB-2C80-9420-43CB856D7E19}"/>
              </a:ext>
            </a:extLst>
          </p:cNvPr>
          <p:cNvSpPr/>
          <p:nvPr/>
        </p:nvSpPr>
        <p:spPr bwMode="gray">
          <a:xfrm>
            <a:off x="2412677" y="4010937"/>
            <a:ext cx="1794833" cy="978193"/>
          </a:xfrm>
          <a:prstGeom prst="roundRect">
            <a:avLst/>
          </a:prstGeom>
          <a:solidFill>
            <a:srgbClr val="046A38"/>
          </a:solidFill>
          <a:ln w="19050" algn="ctr">
            <a:noFill/>
            <a:miter lim="800000"/>
            <a:headEnd/>
            <a:tailEnd/>
          </a:ln>
        </p:spPr>
        <p:txBody>
          <a:bodyPr wrap="square" lIns="88900" tIns="88900" rIns="88900" bIns="88900" rtlCol="0" anchor="ctr" anchorCtr="0"/>
          <a:lstStyle/>
          <a:p>
            <a:pPr lvl="0" algn="ctr"/>
            <a:r>
              <a:rPr lang="zh-TW" altLang="en-US" sz="1600" b="1" dirty="0">
                <a:solidFill>
                  <a:schemeClr val="bg1"/>
                </a:solidFill>
                <a:effectLst/>
                <a:latin typeface="+mj-ea"/>
                <a:ea typeface="+mj-ea"/>
              </a:rPr>
              <a:t>附件三</a:t>
            </a:r>
            <a:endParaRPr lang="en-US" altLang="zh-TW" sz="1600" b="1" dirty="0">
              <a:solidFill>
                <a:schemeClr val="bg1"/>
              </a:solidFill>
              <a:effectLst/>
              <a:latin typeface="+mj-ea"/>
              <a:ea typeface="+mj-ea"/>
            </a:endParaRPr>
          </a:p>
          <a:p>
            <a:pPr lvl="0" algn="ctr"/>
            <a:r>
              <a:rPr lang="zh-TW" altLang="en-US" sz="1600" b="1" dirty="0">
                <a:solidFill>
                  <a:schemeClr val="bg1"/>
                </a:solidFill>
                <a:effectLst/>
                <a:latin typeface="+mj-ea"/>
                <a:ea typeface="+mj-ea"/>
              </a:rPr>
              <a:t>風險評估表</a:t>
            </a:r>
            <a:endParaRPr lang="zh-TW" altLang="zh-TW" sz="1600" b="1" dirty="0">
              <a:solidFill>
                <a:schemeClr val="bg1"/>
              </a:solidFill>
              <a:effectLst/>
              <a:latin typeface="+mj-ea"/>
              <a:ea typeface="+mj-ea"/>
            </a:endParaRPr>
          </a:p>
        </p:txBody>
      </p:sp>
      <p:sp>
        <p:nvSpPr>
          <p:cNvPr id="32" name="矩形: 圓角 31">
            <a:extLst>
              <a:ext uri="{FF2B5EF4-FFF2-40B4-BE49-F238E27FC236}">
                <a16:creationId xmlns:a16="http://schemas.microsoft.com/office/drawing/2014/main" id="{DFACAEF7-BD52-EA37-D126-DAEB823217AF}"/>
              </a:ext>
            </a:extLst>
          </p:cNvPr>
          <p:cNvSpPr/>
          <p:nvPr/>
        </p:nvSpPr>
        <p:spPr bwMode="gray">
          <a:xfrm>
            <a:off x="2412677" y="5289303"/>
            <a:ext cx="1794833" cy="978196"/>
          </a:xfrm>
          <a:prstGeom prst="roundRect">
            <a:avLst/>
          </a:prstGeom>
          <a:solidFill>
            <a:srgbClr val="046A38"/>
          </a:solidFill>
          <a:ln w="19050" algn="ctr">
            <a:noFill/>
            <a:miter lim="800000"/>
            <a:headEnd/>
            <a:tailEnd/>
          </a:ln>
        </p:spPr>
        <p:txBody>
          <a:bodyPr wrap="square" lIns="88900" tIns="88900" rIns="88900" bIns="88900" rtlCol="0" anchor="ctr" anchorCtr="0"/>
          <a:lstStyle/>
          <a:p>
            <a:pPr lvl="0" algn="ctr"/>
            <a:r>
              <a:rPr lang="zh-TW" altLang="en-US" sz="1600" b="1" dirty="0">
                <a:solidFill>
                  <a:schemeClr val="bg1"/>
                </a:solidFill>
                <a:effectLst/>
                <a:latin typeface="+mj-ea"/>
                <a:ea typeface="+mj-ea"/>
              </a:rPr>
              <a:t>附件四</a:t>
            </a:r>
            <a:endParaRPr lang="en-US" altLang="zh-TW" sz="1600" b="1" dirty="0">
              <a:solidFill>
                <a:schemeClr val="bg1"/>
              </a:solidFill>
              <a:effectLst/>
              <a:latin typeface="+mj-ea"/>
              <a:ea typeface="+mj-ea"/>
            </a:endParaRPr>
          </a:p>
          <a:p>
            <a:pPr lvl="0" algn="ctr"/>
            <a:r>
              <a:rPr lang="zh-TW" altLang="en-US" sz="1600" b="1" dirty="0">
                <a:solidFill>
                  <a:schemeClr val="bg1"/>
                </a:solidFill>
                <a:effectLst/>
                <a:latin typeface="+mj-ea"/>
                <a:ea typeface="+mj-ea"/>
              </a:rPr>
              <a:t>廠商盡職調查表</a:t>
            </a:r>
            <a:endParaRPr lang="zh-TW" altLang="zh-TW" sz="1600" b="1" dirty="0">
              <a:solidFill>
                <a:schemeClr val="bg1"/>
              </a:solidFill>
              <a:effectLst/>
              <a:latin typeface="+mj-ea"/>
              <a:ea typeface="+mj-ea"/>
            </a:endParaRPr>
          </a:p>
        </p:txBody>
      </p:sp>
      <p:cxnSp>
        <p:nvCxnSpPr>
          <p:cNvPr id="33" name="直線接點 32">
            <a:extLst>
              <a:ext uri="{FF2B5EF4-FFF2-40B4-BE49-F238E27FC236}">
                <a16:creationId xmlns:a16="http://schemas.microsoft.com/office/drawing/2014/main" id="{8B7A57F8-F608-2005-C8BB-937CCF837078}"/>
              </a:ext>
            </a:extLst>
          </p:cNvPr>
          <p:cNvCxnSpPr>
            <a:cxnSpLocks/>
          </p:cNvCxnSpPr>
          <p:nvPr/>
        </p:nvCxnSpPr>
        <p:spPr>
          <a:xfrm>
            <a:off x="3260651" y="3710765"/>
            <a:ext cx="0" cy="30017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直線接點 33">
            <a:extLst>
              <a:ext uri="{FF2B5EF4-FFF2-40B4-BE49-F238E27FC236}">
                <a16:creationId xmlns:a16="http://schemas.microsoft.com/office/drawing/2014/main" id="{BB9EFC2B-5F3E-80A4-398F-3201C0828A65}"/>
              </a:ext>
            </a:extLst>
          </p:cNvPr>
          <p:cNvCxnSpPr>
            <a:cxnSpLocks/>
          </p:cNvCxnSpPr>
          <p:nvPr/>
        </p:nvCxnSpPr>
        <p:spPr>
          <a:xfrm>
            <a:off x="3260651" y="4989130"/>
            <a:ext cx="0" cy="30017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矩形: 圓角 34">
            <a:extLst>
              <a:ext uri="{FF2B5EF4-FFF2-40B4-BE49-F238E27FC236}">
                <a16:creationId xmlns:a16="http://schemas.microsoft.com/office/drawing/2014/main" id="{37575EDD-894E-C1B8-8740-A65C1535C333}"/>
              </a:ext>
            </a:extLst>
          </p:cNvPr>
          <p:cNvSpPr/>
          <p:nvPr/>
        </p:nvSpPr>
        <p:spPr bwMode="gray">
          <a:xfrm>
            <a:off x="6763444" y="4765848"/>
            <a:ext cx="4911102" cy="1592411"/>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800" b="1" dirty="0">
                <a:solidFill>
                  <a:schemeClr val="bg1"/>
                </a:solidFill>
              </a:rPr>
              <a:t>*注意事項*</a:t>
            </a:r>
            <a:endParaRPr lang="en-US" altLang="zh-TW" sz="1800" b="1" dirty="0">
              <a:solidFill>
                <a:schemeClr val="bg1"/>
              </a:solidFill>
            </a:endParaRPr>
          </a:p>
          <a:p>
            <a:pPr algn="ctr">
              <a:lnSpc>
                <a:spcPct val="106000"/>
              </a:lnSpc>
              <a:buFont typeface="Wingdings 2" pitchFamily="18" charset="2"/>
              <a:buNone/>
            </a:pPr>
            <a:r>
              <a:rPr lang="zh-TW" altLang="en-US" sz="1600" b="1" dirty="0">
                <a:solidFill>
                  <a:schemeClr val="bg1"/>
                </a:solidFill>
              </a:rPr>
              <a:t>本文件暨附件係提供證券商作業委託他人處理的參考範本說明，相關作業範本僅為參考性質，非屬本公會制定之自律規範，相關內容不具有實質拘束力，證券商仍應依循公司實際業務狀況自行調整。</a:t>
            </a:r>
          </a:p>
        </p:txBody>
      </p:sp>
    </p:spTree>
    <p:extLst>
      <p:ext uri="{BB962C8B-B14F-4D97-AF65-F5344CB8AC3E}">
        <p14:creationId xmlns:p14="http://schemas.microsoft.com/office/powerpoint/2010/main" val="2287366223"/>
      </p:ext>
    </p:extLst>
  </p:cSld>
  <p:clrMapOvr>
    <a:masterClrMapping/>
  </p:clrMapOvr>
  <mc:AlternateContent xmlns:mc="http://schemas.openxmlformats.org/markup-compatibility/2006">
    <mc:Choice xmlns:p14="http://schemas.microsoft.com/office/powerpoint/2010/main" Requires="p14">
      <p:transition spd="slow" p14:dur="2000">
        <p:cut/>
      </p:transition>
    </mc:Choice>
    <mc:Fallback>
      <p:transition spd="slow">
        <p:cu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16_9_Onscreen_tw">
  <a:themeElements>
    <a:clrScheme name="自訂 18">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自訂 1">
      <a:majorFont>
        <a:latin typeface="Calibri"/>
        <a:ea typeface="微軟正黑體"/>
        <a:cs typeface=""/>
      </a:majorFont>
      <a:minorFont>
        <a:latin typeface="Calibri"/>
        <a:ea typeface="微軟正黑體"/>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簡報3" id="{8645E943-D83C-4AEF-B82B-247A817E6534}" vid="{2E4CEB4E-0382-4415-BFFE-92AEB68B4C3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2232</TotalTime>
  <Words>2305</Words>
  <Application>Microsoft Office PowerPoint</Application>
  <PresentationFormat>寬螢幕</PresentationFormat>
  <Paragraphs>311</Paragraphs>
  <Slides>24</Slides>
  <Notes>1</Notes>
  <HiddenSlides>0</HiddenSlides>
  <MMClips>0</MMClips>
  <ScaleCrop>false</ScaleCrop>
  <HeadingPairs>
    <vt:vector size="8" baseType="variant">
      <vt:variant>
        <vt:lpstr>使用字型</vt:lpstr>
      </vt:variant>
      <vt:variant>
        <vt:i4>9</vt:i4>
      </vt:variant>
      <vt:variant>
        <vt:lpstr>佈景主題</vt:lpstr>
      </vt:variant>
      <vt:variant>
        <vt:i4>1</vt:i4>
      </vt:variant>
      <vt:variant>
        <vt:lpstr>內嵌 OLE 伺服程式</vt:lpstr>
      </vt:variant>
      <vt:variant>
        <vt:i4>1</vt:i4>
      </vt:variant>
      <vt:variant>
        <vt:lpstr>投影片標題</vt:lpstr>
      </vt:variant>
      <vt:variant>
        <vt:i4>24</vt:i4>
      </vt:variant>
    </vt:vector>
  </HeadingPairs>
  <TitlesOfParts>
    <vt:vector size="35" baseType="lpstr">
      <vt:lpstr>微軟正黑體</vt:lpstr>
      <vt:lpstr>新細明體</vt:lpstr>
      <vt:lpstr>Arial</vt:lpstr>
      <vt:lpstr>Calibri</vt:lpstr>
      <vt:lpstr>Open Sans</vt:lpstr>
      <vt:lpstr>Open Sans Light</vt:lpstr>
      <vt:lpstr>Verdana</vt:lpstr>
      <vt:lpstr>Wingdings</vt:lpstr>
      <vt:lpstr>Wingdings 2</vt:lpstr>
      <vt:lpstr>Deloitte_16_9_Onscreen_tw</vt:lpstr>
      <vt:lpstr>think-cell Slide</vt:lpstr>
      <vt:lpstr>PowerPoint 簡報</vt:lpstr>
      <vt:lpstr>會議議程</vt:lpstr>
      <vt:lpstr>專案進度報告</vt:lpstr>
      <vt:lpstr>專案目標與關鍵工作項目</vt:lpstr>
      <vt:lpstr>專案流程</vt:lpstr>
      <vt:lpstr>專案時程</vt:lpstr>
      <vt:lpstr>專案時程</vt:lpstr>
      <vt:lpstr>範本說明</vt:lpstr>
      <vt:lpstr>範本提供樣式說明</vt:lpstr>
      <vt:lpstr>說明手冊-判斷委外案件是否需適用「證券商作業委託他人處理應注意事項」</vt:lpstr>
      <vt:lpstr>說明手冊-委外內部作業規範建立</vt:lpstr>
      <vt:lpstr>說明手冊-使用風險基礎方法評估現有案件</vt:lpstr>
      <vt:lpstr>說明手冊-委外內部作業參考規範(附件一)</vt:lpstr>
      <vt:lpstr>說明手冊-風險基礎方法之委外管理架構(附件二、三、四)</vt:lpstr>
      <vt:lpstr>說明手冊-風險基礎方法之委外管理架構(附件二、重大性評估表)</vt:lpstr>
      <vt:lpstr>說明手冊-風險基礎方法之委外管理架構(附件三、風險評估表)</vt:lpstr>
      <vt:lpstr>說明手冊-風險基礎方法之委外管理架構(附件四、廠商盡職調查表)</vt:lpstr>
      <vt:lpstr>說明手冊-委外契約檢核表(附件五)</vt:lpstr>
      <vt:lpstr>說明手冊-必要性及適法性分析書件(附件六)</vt:lpstr>
      <vt:lpstr>說明手冊-作業委外計劃書(附件七)</vt:lpstr>
      <vt:lpstr>說明手冊-雲端政策(附件八)</vt:lpstr>
      <vt:lpstr>證券暨期貨業者作業委外處理宣導說明會</vt:lpstr>
      <vt:lpstr>問題與討論</vt:lpstr>
      <vt:lpstr>PowerPoint 簡報</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Cheng, Jasper T.</dc:creator>
  <cp:lastModifiedBy>Wang, Timothy J.</cp:lastModifiedBy>
  <cp:revision>142</cp:revision>
  <cp:lastPrinted>2014-06-25T02:16:22Z</cp:lastPrinted>
  <dcterms:created xsi:type="dcterms:W3CDTF">2022-08-15T08:08:52Z</dcterms:created>
  <dcterms:modified xsi:type="dcterms:W3CDTF">2024-04-18T09:3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1-14T03:40:3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17d978f-b7d7-4712-8a2b-b69c5a2b86dd</vt:lpwstr>
  </property>
  <property fmtid="{D5CDD505-2E9C-101B-9397-08002B2CF9AE}" pid="8" name="MSIP_Label_ea60d57e-af5b-4752-ac57-3e4f28ca11dc_ContentBits">
    <vt:lpwstr>0</vt:lpwstr>
  </property>
</Properties>
</file>